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29.xml" ContentType="application/vnd.openxmlformats-officedocument.presentationml.tag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30.xml" ContentType="application/vnd.openxmlformats-officedocument.presentationml.tags+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31.xml" ContentType="application/vnd.openxmlformats-officedocument.presentationml.tags+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32.xml" ContentType="application/vnd.openxmlformats-officedocument.presentationml.tags+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ags/tag33.xml" ContentType="application/vnd.openxmlformats-officedocument.presentationml.tags+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ags/tag34.xml" ContentType="application/vnd.openxmlformats-officedocument.presentationml.tags+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ags/tag35.xml" ContentType="application/vnd.openxmlformats-officedocument.presentationml.tags+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ags/tag36.xml" ContentType="application/vnd.openxmlformats-officedocument.presentationml.tags+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tags/tag37.xml" ContentType="application/vnd.openxmlformats-officedocument.presentationml.tags+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tags/tag38.xml" ContentType="application/vnd.openxmlformats-officedocument.presentationml.tags+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tags/tag39.xml" ContentType="application/vnd.openxmlformats-officedocument.presentationml.tags+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tags/tag40.xml" ContentType="application/vnd.openxmlformats-officedocument.presentationml.tags+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tags/tag41.xml" ContentType="application/vnd.openxmlformats-officedocument.presentationml.tags+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tags/tag42.xml" ContentType="application/vnd.openxmlformats-officedocument.presentationml.tags+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tags/tag43.xml" ContentType="application/vnd.openxmlformats-officedocument.presentationml.tags+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tags/tag44.xml" ContentType="application/vnd.openxmlformats-officedocument.presentationml.tags+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tags/tag45.xml" ContentType="application/vnd.openxmlformats-officedocument.presentationml.tags+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tags/tag46.xml" ContentType="application/vnd.openxmlformats-officedocument.presentationml.tags+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tags/tag47.xml" ContentType="application/vnd.openxmlformats-officedocument.presentationml.tags+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tags/tag48.xml" ContentType="application/vnd.openxmlformats-officedocument.presentationml.tags+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tags/tag49.xml" ContentType="application/vnd.openxmlformats-officedocument.presentationml.tags+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ppt/tags/tag50.xml" ContentType="application/vnd.openxmlformats-officedocument.presentationml.tags+xml"/>
  <Override PartName="/ppt/charts/chart23.xml" ContentType="application/vnd.openxmlformats-officedocument.drawingml.chart+xml"/>
  <Override PartName="/ppt/charts/style23.xml" ContentType="application/vnd.ms-office.chartstyle+xml"/>
  <Override PartName="/ppt/charts/colors23.xml" ContentType="application/vnd.ms-office.chartcolorstyle+xml"/>
  <Override PartName="/ppt/tags/tag51.xml" ContentType="application/vnd.openxmlformats-officedocument.presentationml.tags+xml"/>
  <Override PartName="/ppt/charts/chart24.xml" ContentType="application/vnd.openxmlformats-officedocument.drawingml.chart+xml"/>
  <Override PartName="/ppt/charts/style24.xml" ContentType="application/vnd.ms-office.chartstyle+xml"/>
  <Override PartName="/ppt/charts/colors24.xml" ContentType="application/vnd.ms-office.chartcolorstyle+xml"/>
  <Override PartName="/ppt/tags/tag52.xml" ContentType="application/vnd.openxmlformats-officedocument.presentationml.tags+xml"/>
  <Override PartName="/ppt/charts/chart25.xml" ContentType="application/vnd.openxmlformats-officedocument.drawingml.chart+xml"/>
  <Override PartName="/ppt/charts/style25.xml" ContentType="application/vnd.ms-office.chartstyle+xml"/>
  <Override PartName="/ppt/charts/colors25.xml" ContentType="application/vnd.ms-office.chartcolorstyle+xml"/>
  <Override PartName="/ppt/tags/tag53.xml" ContentType="application/vnd.openxmlformats-officedocument.presentationml.tags+xml"/>
  <Override PartName="/ppt/charts/chart26.xml" ContentType="application/vnd.openxmlformats-officedocument.drawingml.chart+xml"/>
  <Override PartName="/ppt/charts/style26.xml" ContentType="application/vnd.ms-office.chartstyle+xml"/>
  <Override PartName="/ppt/charts/colors26.xml" ContentType="application/vnd.ms-office.chartcolorstyle+xml"/>
  <Override PartName="/ppt/tags/tag54.xml" ContentType="application/vnd.openxmlformats-officedocument.presentationml.tags+xml"/>
  <Override PartName="/ppt/charts/chart27.xml" ContentType="application/vnd.openxmlformats-officedocument.drawingml.chart+xml"/>
  <Override PartName="/ppt/charts/style27.xml" ContentType="application/vnd.ms-office.chartstyle+xml"/>
  <Override PartName="/ppt/charts/colors27.xml" ContentType="application/vnd.ms-office.chartcolorstyle+xml"/>
  <Override PartName="/ppt/tags/tag55.xml" ContentType="application/vnd.openxmlformats-officedocument.presentationml.tags+xml"/>
  <Override PartName="/ppt/charts/chart28.xml" ContentType="application/vnd.openxmlformats-officedocument.drawingml.chart+xml"/>
  <Override PartName="/ppt/charts/style28.xml" ContentType="application/vnd.ms-office.chartstyle+xml"/>
  <Override PartName="/ppt/charts/colors28.xml" ContentType="application/vnd.ms-office.chartcolorstyle+xml"/>
  <Override PartName="/ppt/tags/tag56.xml" ContentType="application/vnd.openxmlformats-officedocument.presentationml.tags+xml"/>
  <Override PartName="/ppt/charts/chart29.xml" ContentType="application/vnd.openxmlformats-officedocument.drawingml.chart+xml"/>
  <Override PartName="/ppt/charts/style29.xml" ContentType="application/vnd.ms-office.chartstyle+xml"/>
  <Override PartName="/ppt/charts/colors29.xml" ContentType="application/vnd.ms-office.chartcolorstyle+xml"/>
  <Override PartName="/ppt/tags/tag57.xml" ContentType="application/vnd.openxmlformats-officedocument.presentationml.tags+xml"/>
  <Override PartName="/ppt/charts/chart30.xml" ContentType="application/vnd.openxmlformats-officedocument.drawingml.chart+xml"/>
  <Override PartName="/ppt/charts/style30.xml" ContentType="application/vnd.ms-office.chartstyle+xml"/>
  <Override PartName="/ppt/charts/colors30.xml" ContentType="application/vnd.ms-office.chartcolorstyle+xml"/>
  <Override PartName="/ppt/tags/tag58.xml" ContentType="application/vnd.openxmlformats-officedocument.presentationml.tags+xml"/>
  <Override PartName="/ppt/charts/chart31.xml" ContentType="application/vnd.openxmlformats-officedocument.drawingml.chart+xml"/>
  <Override PartName="/ppt/charts/style31.xml" ContentType="application/vnd.ms-office.chartstyle+xml"/>
  <Override PartName="/ppt/charts/colors31.xml" ContentType="application/vnd.ms-office.chartcolorstyle+xml"/>
  <Override PartName="/ppt/tags/tag59.xml" ContentType="application/vnd.openxmlformats-officedocument.presentationml.tags+xml"/>
  <Override PartName="/ppt/charts/chart32.xml" ContentType="application/vnd.openxmlformats-officedocument.drawingml.chart+xml"/>
  <Override PartName="/ppt/charts/style32.xml" ContentType="application/vnd.ms-office.chartstyle+xml"/>
  <Override PartName="/ppt/charts/colors32.xml" ContentType="application/vnd.ms-office.chartcolorstyle+xml"/>
  <Override PartName="/ppt/tags/tag60.xml" ContentType="application/vnd.openxmlformats-officedocument.presentationml.tags+xml"/>
  <Override PartName="/ppt/charts/chart33.xml" ContentType="application/vnd.openxmlformats-officedocument.drawingml.chart+xml"/>
  <Override PartName="/ppt/charts/style33.xml" ContentType="application/vnd.ms-office.chartstyle+xml"/>
  <Override PartName="/ppt/charts/colors33.xml" ContentType="application/vnd.ms-office.chartcolorstyle+xml"/>
  <Override PartName="/ppt/tags/tag61.xml" ContentType="application/vnd.openxmlformats-officedocument.presentationml.tags+xml"/>
  <Override PartName="/ppt/charts/chart34.xml" ContentType="application/vnd.openxmlformats-officedocument.drawingml.chart+xml"/>
  <Override PartName="/ppt/charts/style34.xml" ContentType="application/vnd.ms-office.chartstyle+xml"/>
  <Override PartName="/ppt/charts/colors34.xml" ContentType="application/vnd.ms-office.chartcolorstyle+xml"/>
  <Override PartName="/ppt/tags/tag62.xml" ContentType="application/vnd.openxmlformats-officedocument.presentationml.tags+xml"/>
  <Override PartName="/ppt/charts/chart35.xml" ContentType="application/vnd.openxmlformats-officedocument.drawingml.chart+xml"/>
  <Override PartName="/ppt/charts/style35.xml" ContentType="application/vnd.ms-office.chartstyle+xml"/>
  <Override PartName="/ppt/charts/colors35.xml" ContentType="application/vnd.ms-office.chartcolorstyle+xml"/>
  <Override PartName="/ppt/tags/tag63.xml" ContentType="application/vnd.openxmlformats-officedocument.presentationml.tags+xml"/>
  <Override PartName="/ppt/charts/chart36.xml" ContentType="application/vnd.openxmlformats-officedocument.drawingml.chart+xml"/>
  <Override PartName="/ppt/charts/style36.xml" ContentType="application/vnd.ms-office.chartstyle+xml"/>
  <Override PartName="/ppt/charts/colors36.xml" ContentType="application/vnd.ms-office.chartcolorstyle+xml"/>
  <Override PartName="/ppt/tags/tag64.xml" ContentType="application/vnd.openxmlformats-officedocument.presentationml.tags+xml"/>
  <Override PartName="/ppt/charts/chart37.xml" ContentType="application/vnd.openxmlformats-officedocument.drawingml.chart+xml"/>
  <Override PartName="/ppt/charts/style37.xml" ContentType="application/vnd.ms-office.chartstyle+xml"/>
  <Override PartName="/ppt/charts/colors37.xml" ContentType="application/vnd.ms-office.chartcolorstyle+xml"/>
  <Override PartName="/ppt/tags/tag65.xml" ContentType="application/vnd.openxmlformats-officedocument.presentationml.tags+xml"/>
  <Override PartName="/ppt/charts/chart38.xml" ContentType="application/vnd.openxmlformats-officedocument.drawingml.chart+xml"/>
  <Override PartName="/ppt/charts/style38.xml" ContentType="application/vnd.ms-office.chartstyle+xml"/>
  <Override PartName="/ppt/charts/colors38.xml" ContentType="application/vnd.ms-office.chartcolorstyle+xml"/>
  <Override PartName="/ppt/tags/tag66.xml" ContentType="application/vnd.openxmlformats-officedocument.presentationml.tags+xml"/>
  <Override PartName="/ppt/charts/chart39.xml" ContentType="application/vnd.openxmlformats-officedocument.drawingml.chart+xml"/>
  <Override PartName="/ppt/charts/style39.xml" ContentType="application/vnd.ms-office.chartstyle+xml"/>
  <Override PartName="/ppt/charts/colors39.xml" ContentType="application/vnd.ms-office.chartcolorstyle+xml"/>
  <Override PartName="/ppt/tags/tag67.xml" ContentType="application/vnd.openxmlformats-officedocument.presentationml.tags+xml"/>
  <Override PartName="/ppt/charts/chart40.xml" ContentType="application/vnd.openxmlformats-officedocument.drawingml.chart+xml"/>
  <Override PartName="/ppt/charts/style40.xml" ContentType="application/vnd.ms-office.chartstyle+xml"/>
  <Override PartName="/ppt/charts/colors40.xml" ContentType="application/vnd.ms-office.chartcolorstyle+xml"/>
  <Override PartName="/ppt/tags/tag68.xml" ContentType="application/vnd.openxmlformats-officedocument.presentationml.tags+xml"/>
  <Override PartName="/ppt/charts/chart41.xml" ContentType="application/vnd.openxmlformats-officedocument.drawingml.chart+xml"/>
  <Override PartName="/ppt/charts/style41.xml" ContentType="application/vnd.ms-office.chartstyle+xml"/>
  <Override PartName="/ppt/charts/colors41.xml" ContentType="application/vnd.ms-office.chartcolorstyle+xml"/>
  <Override PartName="/ppt/tags/tag69.xml" ContentType="application/vnd.openxmlformats-officedocument.presentationml.tags+xml"/>
  <Override PartName="/ppt/charts/chart42.xml" ContentType="application/vnd.openxmlformats-officedocument.drawingml.chart+xml"/>
  <Override PartName="/ppt/charts/style42.xml" ContentType="application/vnd.ms-office.chartstyle+xml"/>
  <Override PartName="/ppt/charts/colors42.xml" ContentType="application/vnd.ms-office.chartcolorstyle+xml"/>
  <Override PartName="/ppt/tags/tag70.xml" ContentType="application/vnd.openxmlformats-officedocument.presentationml.tags+xml"/>
  <Override PartName="/ppt/charts/chart43.xml" ContentType="application/vnd.openxmlformats-officedocument.drawingml.chart+xml"/>
  <Override PartName="/ppt/charts/style43.xml" ContentType="application/vnd.ms-office.chartstyle+xml"/>
  <Override PartName="/ppt/charts/colors43.xml" ContentType="application/vnd.ms-office.chartcolorstyle+xml"/>
  <Override PartName="/ppt/tags/tag71.xml" ContentType="application/vnd.openxmlformats-officedocument.presentationml.tags+xml"/>
  <Override PartName="/ppt/charts/chart44.xml" ContentType="application/vnd.openxmlformats-officedocument.drawingml.chart+xml"/>
  <Override PartName="/ppt/charts/style44.xml" ContentType="application/vnd.ms-office.chartstyle+xml"/>
  <Override PartName="/ppt/charts/colors44.xml" ContentType="application/vnd.ms-office.chartcolorstyle+xml"/>
  <Override PartName="/ppt/tags/tag72.xml" ContentType="application/vnd.openxmlformats-officedocument.presentationml.tags+xml"/>
  <Override PartName="/ppt/charts/chart45.xml" ContentType="application/vnd.openxmlformats-officedocument.drawingml.chart+xml"/>
  <Override PartName="/ppt/charts/style45.xml" ContentType="application/vnd.ms-office.chartstyle+xml"/>
  <Override PartName="/ppt/charts/colors45.xml" ContentType="application/vnd.ms-office.chartcolorstyle+xml"/>
  <Override PartName="/ppt/tags/tag73.xml" ContentType="application/vnd.openxmlformats-officedocument.presentationml.tags+xml"/>
  <Override PartName="/ppt/charts/chart46.xml" ContentType="application/vnd.openxmlformats-officedocument.drawingml.chart+xml"/>
  <Override PartName="/ppt/charts/style46.xml" ContentType="application/vnd.ms-office.chartstyle+xml"/>
  <Override PartName="/ppt/charts/colors46.xml" ContentType="application/vnd.ms-office.chartcolorstyle+xml"/>
  <Override PartName="/ppt/tags/tag74.xml" ContentType="application/vnd.openxmlformats-officedocument.presentationml.tags+xml"/>
  <Override PartName="/ppt/charts/chart47.xml" ContentType="application/vnd.openxmlformats-officedocument.drawingml.chart+xml"/>
  <Override PartName="/ppt/charts/style47.xml" ContentType="application/vnd.ms-office.chartstyle+xml"/>
  <Override PartName="/ppt/charts/colors47.xml" ContentType="application/vnd.ms-office.chartcolorstyle+xml"/>
  <Override PartName="/ppt/tags/tag75.xml" ContentType="application/vnd.openxmlformats-officedocument.presentationml.tags+xml"/>
  <Override PartName="/ppt/charts/chart48.xml" ContentType="application/vnd.openxmlformats-officedocument.drawingml.chart+xml"/>
  <Override PartName="/ppt/charts/style48.xml" ContentType="application/vnd.ms-office.chartstyle+xml"/>
  <Override PartName="/ppt/charts/colors48.xml" ContentType="application/vnd.ms-office.chartcolorstyle+xml"/>
  <Override PartName="/ppt/tags/tag76.xml" ContentType="application/vnd.openxmlformats-officedocument.presentationml.tags+xml"/>
  <Override PartName="/ppt/charts/chart49.xml" ContentType="application/vnd.openxmlformats-officedocument.drawingml.chart+xml"/>
  <Override PartName="/ppt/charts/style49.xml" ContentType="application/vnd.ms-office.chartstyle+xml"/>
  <Override PartName="/ppt/charts/colors49.xml" ContentType="application/vnd.ms-office.chartcolorstyle+xml"/>
  <Override PartName="/ppt/tags/tag77.xml" ContentType="application/vnd.openxmlformats-officedocument.presentationml.tags+xml"/>
  <Override PartName="/ppt/charts/chart50.xml" ContentType="application/vnd.openxmlformats-officedocument.drawingml.chart+xml"/>
  <Override PartName="/ppt/charts/style50.xml" ContentType="application/vnd.ms-office.chartstyle+xml"/>
  <Override PartName="/ppt/charts/colors50.xml" ContentType="application/vnd.ms-office.chartcolorstyle+xml"/>
  <Override PartName="/ppt/tags/tag78.xml" ContentType="application/vnd.openxmlformats-officedocument.presentationml.tags+xml"/>
  <Override PartName="/ppt/charts/chart51.xml" ContentType="application/vnd.openxmlformats-officedocument.drawingml.chart+xml"/>
  <Override PartName="/ppt/charts/style51.xml" ContentType="application/vnd.ms-office.chartstyle+xml"/>
  <Override PartName="/ppt/charts/colors51.xml" ContentType="application/vnd.ms-office.chartcolorstyle+xml"/>
  <Override PartName="/ppt/tags/tag79.xml" ContentType="application/vnd.openxmlformats-officedocument.presentationml.tags+xml"/>
  <Override PartName="/ppt/charts/chart52.xml" ContentType="application/vnd.openxmlformats-officedocument.drawingml.chart+xml"/>
  <Override PartName="/ppt/charts/style52.xml" ContentType="application/vnd.ms-office.chartstyle+xml"/>
  <Override PartName="/ppt/charts/colors52.xml" ContentType="application/vnd.ms-office.chartcolorstyle+xml"/>
  <Override PartName="/ppt/tags/tag80.xml" ContentType="application/vnd.openxmlformats-officedocument.presentationml.tags+xml"/>
  <Override PartName="/ppt/charts/chart53.xml" ContentType="application/vnd.openxmlformats-officedocument.drawingml.chart+xml"/>
  <Override PartName="/ppt/charts/style53.xml" ContentType="application/vnd.ms-office.chartstyle+xml"/>
  <Override PartName="/ppt/charts/colors53.xml" ContentType="application/vnd.ms-office.chartcolorstyle+xml"/>
  <Override PartName="/ppt/tags/tag81.xml" ContentType="application/vnd.openxmlformats-officedocument.presentationml.tags+xml"/>
  <Override PartName="/ppt/charts/chart54.xml" ContentType="application/vnd.openxmlformats-officedocument.drawingml.chart+xml"/>
  <Override PartName="/ppt/charts/style54.xml" ContentType="application/vnd.ms-office.chartstyle+xml"/>
  <Override PartName="/ppt/charts/colors54.xml" ContentType="application/vnd.ms-office.chartcolorstyle+xml"/>
  <Override PartName="/ppt/tags/tag82.xml" ContentType="application/vnd.openxmlformats-officedocument.presentationml.tags+xml"/>
  <Override PartName="/ppt/charts/chart55.xml" ContentType="application/vnd.openxmlformats-officedocument.drawingml.chart+xml"/>
  <Override PartName="/ppt/charts/style55.xml" ContentType="application/vnd.ms-office.chartstyle+xml"/>
  <Override PartName="/ppt/charts/colors55.xml" ContentType="application/vnd.ms-office.chartcolorstyle+xml"/>
  <Override PartName="/ppt/tags/tag83.xml" ContentType="application/vnd.openxmlformats-officedocument.presentationml.tags+xml"/>
  <Override PartName="/ppt/charts/chart56.xml" ContentType="application/vnd.openxmlformats-officedocument.drawingml.chart+xml"/>
  <Override PartName="/ppt/charts/style56.xml" ContentType="application/vnd.ms-office.chartstyle+xml"/>
  <Override PartName="/ppt/charts/colors56.xml" ContentType="application/vnd.ms-office.chartcolorstyle+xml"/>
  <Override PartName="/ppt/tags/tag84.xml" ContentType="application/vnd.openxmlformats-officedocument.presentationml.tags+xml"/>
  <Override PartName="/ppt/charts/chart57.xml" ContentType="application/vnd.openxmlformats-officedocument.drawingml.chart+xml"/>
  <Override PartName="/ppt/charts/style57.xml" ContentType="application/vnd.ms-office.chartstyle+xml"/>
  <Override PartName="/ppt/charts/colors57.xml" ContentType="application/vnd.ms-office.chartcolorstyle+xml"/>
  <Override PartName="/ppt/tags/tag85.xml" ContentType="application/vnd.openxmlformats-officedocument.presentationml.tags+xml"/>
  <Override PartName="/ppt/charts/chart58.xml" ContentType="application/vnd.openxmlformats-officedocument.drawingml.chart+xml"/>
  <Override PartName="/ppt/charts/style58.xml" ContentType="application/vnd.ms-office.chartstyle+xml"/>
  <Override PartName="/ppt/charts/colors58.xml" ContentType="application/vnd.ms-office.chartcolorstyle+xml"/>
  <Override PartName="/ppt/tags/tag86.xml" ContentType="application/vnd.openxmlformats-officedocument.presentationml.tags+xml"/>
  <Override PartName="/ppt/charts/chart59.xml" ContentType="application/vnd.openxmlformats-officedocument.drawingml.chart+xml"/>
  <Override PartName="/ppt/charts/style59.xml" ContentType="application/vnd.ms-office.chartstyle+xml"/>
  <Override PartName="/ppt/charts/colors59.xml" ContentType="application/vnd.ms-office.chartcolorstyle+xml"/>
  <Override PartName="/ppt/tags/tag87.xml" ContentType="application/vnd.openxmlformats-officedocument.presentationml.tags+xml"/>
  <Override PartName="/ppt/charts/chart60.xml" ContentType="application/vnd.openxmlformats-officedocument.drawingml.chart+xml"/>
  <Override PartName="/ppt/charts/style60.xml" ContentType="application/vnd.ms-office.chartstyle+xml"/>
  <Override PartName="/ppt/charts/colors60.xml" ContentType="application/vnd.ms-office.chartcolorstyle+xml"/>
  <Override PartName="/ppt/tags/tag88.xml" ContentType="application/vnd.openxmlformats-officedocument.presentationml.tags+xml"/>
  <Override PartName="/ppt/charts/chart61.xml" ContentType="application/vnd.openxmlformats-officedocument.drawingml.chart+xml"/>
  <Override PartName="/ppt/charts/style61.xml" ContentType="application/vnd.ms-office.chartstyle+xml"/>
  <Override PartName="/ppt/charts/colors61.xml" ContentType="application/vnd.ms-office.chartcolorstyle+xml"/>
  <Override PartName="/ppt/tags/tag89.xml" ContentType="application/vnd.openxmlformats-officedocument.presentationml.tags+xml"/>
  <Override PartName="/ppt/charts/chart62.xml" ContentType="application/vnd.openxmlformats-officedocument.drawingml.chart+xml"/>
  <Override PartName="/ppt/charts/style62.xml" ContentType="application/vnd.ms-office.chartstyle+xml"/>
  <Override PartName="/ppt/charts/colors62.xml" ContentType="application/vnd.ms-office.chartcolorstyle+xml"/>
  <Override PartName="/ppt/tags/tag90.xml" ContentType="application/vnd.openxmlformats-officedocument.presentationml.tags+xml"/>
  <Override PartName="/ppt/charts/chart63.xml" ContentType="application/vnd.openxmlformats-officedocument.drawingml.chart+xml"/>
  <Override PartName="/ppt/charts/style63.xml" ContentType="application/vnd.ms-office.chartstyle+xml"/>
  <Override PartName="/ppt/charts/colors63.xml" ContentType="application/vnd.ms-office.chartcolorstyle+xml"/>
  <Override PartName="/ppt/tags/tag91.xml" ContentType="application/vnd.openxmlformats-officedocument.presentationml.tags+xml"/>
  <Override PartName="/ppt/charts/chart64.xml" ContentType="application/vnd.openxmlformats-officedocument.drawingml.chart+xml"/>
  <Override PartName="/ppt/charts/style64.xml" ContentType="application/vnd.ms-office.chartstyle+xml"/>
  <Override PartName="/ppt/charts/colors64.xml" ContentType="application/vnd.ms-office.chartcolorstyle+xml"/>
  <Override PartName="/ppt/tags/tag92.xml" ContentType="application/vnd.openxmlformats-officedocument.presentationml.tags+xml"/>
  <Override PartName="/ppt/charts/chart65.xml" ContentType="application/vnd.openxmlformats-officedocument.drawingml.chart+xml"/>
  <Override PartName="/ppt/charts/style65.xml" ContentType="application/vnd.ms-office.chartstyle+xml"/>
  <Override PartName="/ppt/charts/colors65.xml" ContentType="application/vnd.ms-office.chartcolorstyle+xml"/>
  <Override PartName="/ppt/tags/tag93.xml" ContentType="application/vnd.openxmlformats-officedocument.presentationml.tags+xml"/>
  <Override PartName="/ppt/charts/chart66.xml" ContentType="application/vnd.openxmlformats-officedocument.drawingml.chart+xml"/>
  <Override PartName="/ppt/charts/style66.xml" ContentType="application/vnd.ms-office.chartstyle+xml"/>
  <Override PartName="/ppt/charts/colors66.xml" ContentType="application/vnd.ms-office.chartcolorstyle+xml"/>
  <Override PartName="/ppt/tags/tag94.xml" ContentType="application/vnd.openxmlformats-officedocument.presentationml.tags+xml"/>
  <Override PartName="/ppt/charts/chart67.xml" ContentType="application/vnd.openxmlformats-officedocument.drawingml.chart+xml"/>
  <Override PartName="/ppt/charts/style67.xml" ContentType="application/vnd.ms-office.chartstyle+xml"/>
  <Override PartName="/ppt/charts/colors67.xml" ContentType="application/vnd.ms-office.chartcolorstyle+xml"/>
  <Override PartName="/ppt/tags/tag95.xml" ContentType="application/vnd.openxmlformats-officedocument.presentationml.tags+xml"/>
  <Override PartName="/ppt/charts/chart68.xml" ContentType="application/vnd.openxmlformats-officedocument.drawingml.chart+xml"/>
  <Override PartName="/ppt/charts/style68.xml" ContentType="application/vnd.ms-office.chartstyle+xml"/>
  <Override PartName="/ppt/charts/colors68.xml" ContentType="application/vnd.ms-office.chartcolorstyle+xml"/>
  <Override PartName="/ppt/tags/tag96.xml" ContentType="application/vnd.openxmlformats-officedocument.presentationml.tags+xml"/>
  <Override PartName="/ppt/charts/chart69.xml" ContentType="application/vnd.openxmlformats-officedocument.drawingml.chart+xml"/>
  <Override PartName="/ppt/tags/tag97.xml" ContentType="application/vnd.openxmlformats-officedocument.presentationml.tags+xml"/>
  <Override PartName="/ppt/charts/chart70.xml" ContentType="application/vnd.openxmlformats-officedocument.drawingml.chart+xml"/>
  <Override PartName="/ppt/tags/tag98.xml" ContentType="application/vnd.openxmlformats-officedocument.presentationml.tags+xml"/>
  <Override PartName="/ppt/charts/chart71.xml" ContentType="application/vnd.openxmlformats-officedocument.drawingml.chart+xml"/>
  <Override PartName="/ppt/tags/tag99.xml" ContentType="application/vnd.openxmlformats-officedocument.presentationml.tags+xml"/>
  <Override PartName="/ppt/charts/chart72.xml" ContentType="application/vnd.openxmlformats-officedocument.drawingml.chart+xml"/>
  <Override PartName="/ppt/tags/tag100.xml" ContentType="application/vnd.openxmlformats-officedocument.presentationml.tags+xml"/>
  <Override PartName="/ppt/charts/chart73.xml" ContentType="application/vnd.openxmlformats-officedocument.drawingml.chart+xml"/>
  <Override PartName="/ppt/tags/tag101.xml" ContentType="application/vnd.openxmlformats-officedocument.presentationml.tags+xml"/>
  <Override PartName="/ppt/charts/chart74.xml" ContentType="application/vnd.openxmlformats-officedocument.drawingml.chart+xml"/>
  <Override PartName="/ppt/tags/tag102.xml" ContentType="application/vnd.openxmlformats-officedocument.presentationml.tags+xml"/>
  <Override PartName="/ppt/charts/chart75.xml" ContentType="application/vnd.openxmlformats-officedocument.drawingml.chart+xml"/>
  <Override PartName="/ppt/tags/tag103.xml" ContentType="application/vnd.openxmlformats-officedocument.presentationml.tags+xml"/>
  <Override PartName="/ppt/charts/chart76.xml" ContentType="application/vnd.openxmlformats-officedocument.drawingml.chart+xml"/>
  <Override PartName="/ppt/tags/tag104.xml" ContentType="application/vnd.openxmlformats-officedocument.presentationml.tags+xml"/>
  <Override PartName="/ppt/charts/chart77.xml" ContentType="application/vnd.openxmlformats-officedocument.drawingml.chart+xml"/>
  <Override PartName="/ppt/tags/tag105.xml" ContentType="application/vnd.openxmlformats-officedocument.presentationml.tags+xml"/>
  <Override PartName="/ppt/charts/chart78.xml" ContentType="application/vnd.openxmlformats-officedocument.drawingml.chart+xml"/>
  <Override PartName="/ppt/tags/tag106.xml" ContentType="application/vnd.openxmlformats-officedocument.presentationml.tags+xml"/>
  <Override PartName="/ppt/charts/chart79.xml" ContentType="application/vnd.openxmlformats-officedocument.drawingml.chart+xml"/>
  <Override PartName="/ppt/tags/tag107.xml" ContentType="application/vnd.openxmlformats-officedocument.presentationml.tags+xml"/>
  <Override PartName="/ppt/charts/chart80.xml" ContentType="application/vnd.openxmlformats-officedocument.drawingml.chart+xml"/>
  <Override PartName="/ppt/tags/tag108.xml" ContentType="application/vnd.openxmlformats-officedocument.presentationml.tags+xml"/>
  <Override PartName="/ppt/charts/chart81.xml" ContentType="application/vnd.openxmlformats-officedocument.drawingml.chart+xml"/>
  <Override PartName="/ppt/tags/tag109.xml" ContentType="application/vnd.openxmlformats-officedocument.presentationml.tags+xml"/>
  <Override PartName="/ppt/charts/chart82.xml" ContentType="application/vnd.openxmlformats-officedocument.drawingml.chart+xml"/>
  <Override PartName="/ppt/tags/tag110.xml" ContentType="application/vnd.openxmlformats-officedocument.presentationml.tags+xml"/>
  <Override PartName="/ppt/charts/chart83.xml" ContentType="application/vnd.openxmlformats-officedocument.drawingml.chart+xml"/>
  <Override PartName="/ppt/tags/tag111.xml" ContentType="application/vnd.openxmlformats-officedocument.presentationml.tags+xml"/>
  <Override PartName="/ppt/charts/chart84.xml" ContentType="application/vnd.openxmlformats-officedocument.drawingml.chart+xml"/>
  <Override PartName="/ppt/tags/tag112.xml" ContentType="application/vnd.openxmlformats-officedocument.presentationml.tags+xml"/>
  <Override PartName="/ppt/charts/chart85.xml" ContentType="application/vnd.openxmlformats-officedocument.drawingml.chart+xml"/>
  <Override PartName="/ppt/tags/tag113.xml" ContentType="application/vnd.openxmlformats-officedocument.presentationml.tags+xml"/>
  <Override PartName="/ppt/charts/chart86.xml" ContentType="application/vnd.openxmlformats-officedocument.drawingml.chart+xml"/>
  <Override PartName="/ppt/tags/tag114.xml" ContentType="application/vnd.openxmlformats-officedocument.presentationml.tags+xml"/>
  <Override PartName="/ppt/charts/chart87.xml" ContentType="application/vnd.openxmlformats-officedocument.drawingml.chart+xml"/>
  <Override PartName="/ppt/tags/tag115.xml" ContentType="application/vnd.openxmlformats-officedocument.presentationml.tags+xml"/>
  <Override PartName="/ppt/charts/chart88.xml" ContentType="application/vnd.openxmlformats-officedocument.drawingml.chart+xml"/>
  <Override PartName="/ppt/tags/tag116.xml" ContentType="application/vnd.openxmlformats-officedocument.presentationml.tags+xml"/>
  <Override PartName="/ppt/charts/chart89.xml" ContentType="application/vnd.openxmlformats-officedocument.drawingml.chart+xml"/>
  <Override PartName="/ppt/tags/tag117.xml" ContentType="application/vnd.openxmlformats-officedocument.presentationml.tags+xml"/>
  <Override PartName="/ppt/charts/chart90.xml" ContentType="application/vnd.openxmlformats-officedocument.drawingml.chart+xml"/>
  <Override PartName="/ppt/tags/tag118.xml" ContentType="application/vnd.openxmlformats-officedocument.presentationml.tags+xml"/>
  <Override PartName="/ppt/charts/chart91.xml" ContentType="application/vnd.openxmlformats-officedocument.drawingml.chart+xml"/>
  <Override PartName="/ppt/tags/tag119.xml" ContentType="application/vnd.openxmlformats-officedocument.presentationml.tags+xml"/>
  <Override PartName="/ppt/charts/chart92.xml" ContentType="application/vnd.openxmlformats-officedocument.drawingml.chart+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4" r:id="rId4"/>
  </p:sldMasterIdLst>
  <p:notesMasterIdLst>
    <p:notesMasterId r:id="rId97"/>
  </p:notesMasterIdLst>
  <p:sldIdLst>
    <p:sldId id="2147477365" r:id="rId5"/>
    <p:sldId id="2147477366" r:id="rId6"/>
    <p:sldId id="2147477367" r:id="rId7"/>
    <p:sldId id="2147477368" r:id="rId8"/>
    <p:sldId id="2147477369" r:id="rId9"/>
    <p:sldId id="2147477370" r:id="rId10"/>
    <p:sldId id="2147477371" r:id="rId11"/>
    <p:sldId id="2147477372" r:id="rId12"/>
    <p:sldId id="2147477373" r:id="rId13"/>
    <p:sldId id="2147477374" r:id="rId14"/>
    <p:sldId id="2147477375" r:id="rId15"/>
    <p:sldId id="2147477376" r:id="rId16"/>
    <p:sldId id="2147477377" r:id="rId17"/>
    <p:sldId id="2147477378" r:id="rId18"/>
    <p:sldId id="2147477379" r:id="rId19"/>
    <p:sldId id="2147477380" r:id="rId20"/>
    <p:sldId id="2147477381" r:id="rId21"/>
    <p:sldId id="2147477382" r:id="rId22"/>
    <p:sldId id="2147477383" r:id="rId23"/>
    <p:sldId id="2147477384" r:id="rId24"/>
    <p:sldId id="2147477385" r:id="rId25"/>
    <p:sldId id="2147477386" r:id="rId26"/>
    <p:sldId id="2147477387" r:id="rId27"/>
    <p:sldId id="2147477388" r:id="rId28"/>
    <p:sldId id="2147477389" r:id="rId29"/>
    <p:sldId id="2147477390" r:id="rId30"/>
    <p:sldId id="2147477391" r:id="rId31"/>
    <p:sldId id="2147477392" r:id="rId32"/>
    <p:sldId id="2147477393" r:id="rId33"/>
    <p:sldId id="2147477394" r:id="rId34"/>
    <p:sldId id="2147477395" r:id="rId35"/>
    <p:sldId id="2147477396" r:id="rId36"/>
    <p:sldId id="2147477397" r:id="rId37"/>
    <p:sldId id="2147477398" r:id="rId38"/>
    <p:sldId id="2147477399" r:id="rId39"/>
    <p:sldId id="2147477400" r:id="rId40"/>
    <p:sldId id="2147477401" r:id="rId41"/>
    <p:sldId id="2147477402" r:id="rId42"/>
    <p:sldId id="2147477403" r:id="rId43"/>
    <p:sldId id="2147477404" r:id="rId44"/>
    <p:sldId id="2147477405" r:id="rId45"/>
    <p:sldId id="2147477406" r:id="rId46"/>
    <p:sldId id="2147477407" r:id="rId47"/>
    <p:sldId id="2147477408" r:id="rId48"/>
    <p:sldId id="2147477409" r:id="rId49"/>
    <p:sldId id="2147477410" r:id="rId50"/>
    <p:sldId id="2147477411" r:id="rId51"/>
    <p:sldId id="2147477412" r:id="rId52"/>
    <p:sldId id="2147477413" r:id="rId53"/>
    <p:sldId id="2147477414" r:id="rId54"/>
    <p:sldId id="2147477415" r:id="rId55"/>
    <p:sldId id="2147477416" r:id="rId56"/>
    <p:sldId id="2147477417" r:id="rId57"/>
    <p:sldId id="2147477418" r:id="rId58"/>
    <p:sldId id="2147477419" r:id="rId59"/>
    <p:sldId id="2147477420" r:id="rId60"/>
    <p:sldId id="2147477421" r:id="rId61"/>
    <p:sldId id="2147477422" r:id="rId62"/>
    <p:sldId id="2147477423" r:id="rId63"/>
    <p:sldId id="2147477424" r:id="rId64"/>
    <p:sldId id="2147477425" r:id="rId65"/>
    <p:sldId id="2147477426" r:id="rId66"/>
    <p:sldId id="2147477427" r:id="rId67"/>
    <p:sldId id="2147477428" r:id="rId68"/>
    <p:sldId id="2147477429" r:id="rId69"/>
    <p:sldId id="2147477430" r:id="rId70"/>
    <p:sldId id="2147477431" r:id="rId71"/>
    <p:sldId id="2147477432" r:id="rId72"/>
    <p:sldId id="2147477433" r:id="rId73"/>
    <p:sldId id="2147477434" r:id="rId74"/>
    <p:sldId id="2147477435" r:id="rId75"/>
    <p:sldId id="2147477436" r:id="rId76"/>
    <p:sldId id="2147477437" r:id="rId77"/>
    <p:sldId id="2147477438" r:id="rId78"/>
    <p:sldId id="2147477439" r:id="rId79"/>
    <p:sldId id="2147477440" r:id="rId80"/>
    <p:sldId id="2147477441" r:id="rId81"/>
    <p:sldId id="2147477442" r:id="rId82"/>
    <p:sldId id="2147477443" r:id="rId83"/>
    <p:sldId id="2147477444" r:id="rId84"/>
    <p:sldId id="2147477445" r:id="rId85"/>
    <p:sldId id="2147477446" r:id="rId86"/>
    <p:sldId id="2147477447" r:id="rId87"/>
    <p:sldId id="2147477448" r:id="rId88"/>
    <p:sldId id="2147477449" r:id="rId89"/>
    <p:sldId id="2147477450" r:id="rId90"/>
    <p:sldId id="2147477451" r:id="rId91"/>
    <p:sldId id="2147477452" r:id="rId92"/>
    <p:sldId id="2147477453" r:id="rId93"/>
    <p:sldId id="2147477454" r:id="rId94"/>
    <p:sldId id="2147477455" r:id="rId95"/>
    <p:sldId id="2147477456" r:id="rId96"/>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Category Price Point Distribution Scraped" id="{D5095D06-60BE-4AC4-A8A8-A1648B7949DA}">
          <p14:sldIdLst>
            <p14:sldId id="2147477365"/>
            <p14:sldId id="2147477366"/>
          </p14:sldIdLst>
        </p14:section>
        <p14:section name="Sector Price Point Distribution Scraped" id="{B8FB71D4-74E0-4CFF-8A43-CF59DA830EE2}">
          <p14:sldIdLst>
            <p14:sldId id="2147477367"/>
            <p14:sldId id="2147477368"/>
            <p14:sldId id="2147477369"/>
          </p14:sldIdLst>
        </p14:section>
        <p14:section name="Category Price Point Distribution Scraped ByManuf" id="{F61AB708-742D-468A-AB36-AB110D472A91}">
          <p14:sldIdLst>
            <p14:sldId id="2147477370"/>
          </p14:sldIdLst>
        </p14:section>
        <p14:section name="Sector Price Point Distribution Scraped ByManuf" id="{B39262BA-D9D2-4D2E-AE98-EF9F88DA9D55}">
          <p14:sldIdLst>
            <p14:sldId id="2147477371"/>
          </p14:sldIdLst>
        </p14:section>
        <p14:section name="Price Point Comparison Analysis by Manuf" id="{A4CE5ACA-DD2B-469D-BA33-9F859D7A0504}">
          <p14:sldIdLst>
            <p14:sldId id="2147477372"/>
            <p14:sldId id="2147477373"/>
            <p14:sldId id="2147477374"/>
            <p14:sldId id="2147477375"/>
            <p14:sldId id="2147477376"/>
            <p14:sldId id="2147477377"/>
            <p14:sldId id="2147477378"/>
            <p14:sldId id="2147477379"/>
            <p14:sldId id="2147477380"/>
            <p14:sldId id="2147477381"/>
            <p14:sldId id="2147477382"/>
            <p14:sldId id="2147477383"/>
          </p14:sldIdLst>
        </p14:section>
        <p14:section name="Price Point Comparison Analysis by Product" id="{2F8B0154-7F7D-45A2-8DE6-E005C19AFA8F}">
          <p14:sldIdLst>
            <p14:sldId id="2147477384"/>
            <p14:sldId id="2147477385"/>
            <p14:sldId id="2147477386"/>
            <p14:sldId id="2147477387"/>
            <p14:sldId id="2147477388"/>
            <p14:sldId id="2147477389"/>
            <p14:sldId id="2147477390"/>
            <p14:sldId id="2147477391"/>
            <p14:sldId id="2147477392"/>
            <p14:sldId id="2147477393"/>
            <p14:sldId id="2147477394"/>
            <p14:sldId id="2147477395"/>
            <p14:sldId id="2147477396"/>
            <p14:sldId id="2147477397"/>
            <p14:sldId id="2147477398"/>
            <p14:sldId id="2147477399"/>
            <p14:sldId id="2147477400"/>
            <p14:sldId id="2147477401"/>
            <p14:sldId id="2147477402"/>
            <p14:sldId id="2147477403"/>
            <p14:sldId id="2147477404"/>
            <p14:sldId id="2147477405"/>
            <p14:sldId id="2147477406"/>
            <p14:sldId id="2147477407"/>
            <p14:sldId id="2147477408"/>
            <p14:sldId id="2147477409"/>
            <p14:sldId id="2147477410"/>
            <p14:sldId id="2147477411"/>
            <p14:sldId id="2147477412"/>
            <p14:sldId id="2147477413"/>
          </p14:sldIdLst>
        </p14:section>
        <p14:section name="Price Point Comparison Analysis by Product Scraped" id="{990461EC-C4E1-4AC5-BC30-EB4A6D04ECEA}">
          <p14:sldIdLst>
            <p14:sldId id="2147477414"/>
            <p14:sldId id="2147477415"/>
            <p14:sldId id="2147477416"/>
            <p14:sldId id="2147477417"/>
            <p14:sldId id="2147477418"/>
            <p14:sldId id="2147477419"/>
            <p14:sldId id="2147477420"/>
            <p14:sldId id="2147477421"/>
            <p14:sldId id="2147477422"/>
            <p14:sldId id="2147477423"/>
            <p14:sldId id="2147477424"/>
            <p14:sldId id="2147477425"/>
            <p14:sldId id="2147477426"/>
            <p14:sldId id="2147477427"/>
          </p14:sldIdLst>
        </p14:section>
        <p14:section name="Price Point Comparison Analysis by Manuf Scraped" id="{25C62E33-4D37-4785-B23F-0107BF37467E}">
          <p14:sldIdLst>
            <p14:sldId id="2147477428"/>
            <p14:sldId id="2147477429"/>
            <p14:sldId id="2147477430"/>
            <p14:sldId id="2147477431"/>
            <p14:sldId id="2147477432"/>
          </p14:sldIdLst>
        </p14:section>
        <p14:section name="Price Point Distribution Analysis By Brand" id="{CBB9C076-C5D4-4691-AADF-78CEC9DF55FF}">
          <p14:sldIdLst>
            <p14:sldId id="2147477433"/>
            <p14:sldId id="2147477434"/>
            <p14:sldId id="2147477435"/>
            <p14:sldId id="2147477436"/>
            <p14:sldId id="2147477437"/>
            <p14:sldId id="2147477438"/>
            <p14:sldId id="2147477439"/>
            <p14:sldId id="2147477440"/>
            <p14:sldId id="2147477441"/>
            <p14:sldId id="2147477442"/>
            <p14:sldId id="2147477443"/>
            <p14:sldId id="2147477444"/>
            <p14:sldId id="2147477445"/>
            <p14:sldId id="2147477446"/>
            <p14:sldId id="2147477447"/>
          </p14:sldIdLst>
        </p14:section>
        <p14:section name="Price Point Distribution By Brand By Sector" id="{028DCBF2-29D7-4437-BBD6-69C5F3DE6FD9}">
          <p14:sldIdLst>
            <p14:sldId id="2147477448"/>
            <p14:sldId id="2147477449"/>
            <p14:sldId id="2147477450"/>
          </p14:sldIdLst>
        </p14:section>
        <p14:section name="Price Point Distribution By Brand By Segment" id="{917E4C68-090E-440D-9FF4-BA5F031BDCB4}">
          <p14:sldIdLst>
            <p14:sldId id="2147477451"/>
            <p14:sldId id="2147477452"/>
            <p14:sldId id="2147477453"/>
            <p14:sldId id="2147477454"/>
            <p14:sldId id="2147477455"/>
            <p14:sldId id="2147477456"/>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AEABAB"/>
    <a:srgbClr val="BCBBBB"/>
    <a:srgbClr val="7ECAC4"/>
    <a:srgbClr val="CFCECE"/>
    <a:srgbClr val="575555"/>
    <a:srgbClr val="999B9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14325D-4433-4527-A5B8-00254240609C}" v="6" dt="2024-11-01T08:07:18.828"/>
    <p1510:client id="{49AFDB74-6FD9-4071-ADAD-4F61DD009A87}" v="61" dt="2024-11-01T08:58:09.4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3" d="100"/>
          <a:sy n="103" d="100"/>
        </p:scale>
        <p:origin x="874" y="77"/>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microsoft.com/office/2015/10/relationships/revisionInfo" Target="revisionInfo.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80" Type="http://schemas.openxmlformats.org/officeDocument/2006/relationships/slide" Target="slides/slide76.xml"/><Relationship Id="rId85" Type="http://schemas.openxmlformats.org/officeDocument/2006/relationships/slide" Target="slides/slide81.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slide" Target="slides/slide84.xml"/><Relationship Id="rId91" Type="http://schemas.openxmlformats.org/officeDocument/2006/relationships/slide" Target="slides/slide87.xml"/><Relationship Id="rId96" Type="http://schemas.openxmlformats.org/officeDocument/2006/relationships/slide" Target="slides/slide92.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slide" Target="slides/slide90.xml"/><Relationship Id="rId99" Type="http://schemas.openxmlformats.org/officeDocument/2006/relationships/viewProps" Target="viewProps.xml"/><Relationship Id="rId10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notesMaster" Target="notesMasters/notesMaster1.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theme" Target="theme/theme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presProps" Target="presProps.xml"/><Relationship Id="rId3"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20.xml"/><Relationship Id="rId1" Type="http://schemas.microsoft.com/office/2011/relationships/chartStyle" Target="style20.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21.xml"/><Relationship Id="rId1" Type="http://schemas.microsoft.com/office/2011/relationships/chartStyle" Target="style21.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22.xml"/><Relationship Id="rId1" Type="http://schemas.microsoft.com/office/2011/relationships/chartStyle" Target="style22.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23.xml"/><Relationship Id="rId1" Type="http://schemas.microsoft.com/office/2011/relationships/chartStyle" Target="style23.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24.xml"/><Relationship Id="rId1" Type="http://schemas.microsoft.com/office/2011/relationships/chartStyle" Target="style24.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25.xml"/><Relationship Id="rId1" Type="http://schemas.microsoft.com/office/2011/relationships/chartStyle" Target="style25.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26.xml"/><Relationship Id="rId1" Type="http://schemas.microsoft.com/office/2011/relationships/chartStyle" Target="style26.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27.xml"/><Relationship Id="rId1" Type="http://schemas.microsoft.com/office/2011/relationships/chartStyle" Target="style27.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28.xml"/><Relationship Id="rId1" Type="http://schemas.microsoft.com/office/2011/relationships/chartStyle" Target="style28.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29.xml"/><Relationship Id="rId1" Type="http://schemas.microsoft.com/office/2011/relationships/chartStyle" Target="style29.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30.xml"/><Relationship Id="rId1" Type="http://schemas.microsoft.com/office/2011/relationships/chartStyle" Target="style30.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31.xml"/><Relationship Id="rId1" Type="http://schemas.microsoft.com/office/2011/relationships/chartStyle" Target="style31.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32.xml"/><Relationship Id="rId1" Type="http://schemas.microsoft.com/office/2011/relationships/chartStyle" Target="style32.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33.xml"/><Relationship Id="rId1" Type="http://schemas.microsoft.com/office/2011/relationships/chartStyle" Target="style33.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34.xml"/><Relationship Id="rId1" Type="http://schemas.microsoft.com/office/2011/relationships/chartStyle" Target="style34.xml"/></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Worksheet34.xlsx"/><Relationship Id="rId2" Type="http://schemas.microsoft.com/office/2011/relationships/chartColorStyle" Target="colors35.xml"/><Relationship Id="rId1" Type="http://schemas.microsoft.com/office/2011/relationships/chartStyle" Target="style35.xml"/></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35.xlsx"/><Relationship Id="rId2" Type="http://schemas.microsoft.com/office/2011/relationships/chartColorStyle" Target="colors36.xml"/><Relationship Id="rId1" Type="http://schemas.microsoft.com/office/2011/relationships/chartStyle" Target="style36.xml"/></Relationships>
</file>

<file path=ppt/charts/_rels/chart37.xml.rels><?xml version="1.0" encoding="UTF-8" standalone="yes"?>
<Relationships xmlns="http://schemas.openxmlformats.org/package/2006/relationships"><Relationship Id="rId3" Type="http://schemas.openxmlformats.org/officeDocument/2006/relationships/package" Target="../embeddings/Microsoft_Excel_Worksheet36.xlsx"/><Relationship Id="rId2" Type="http://schemas.microsoft.com/office/2011/relationships/chartColorStyle" Target="colors37.xml"/><Relationship Id="rId1" Type="http://schemas.microsoft.com/office/2011/relationships/chartStyle" Target="style37.xml"/></Relationships>
</file>

<file path=ppt/charts/_rels/chart38.xml.rels><?xml version="1.0" encoding="UTF-8" standalone="yes"?>
<Relationships xmlns="http://schemas.openxmlformats.org/package/2006/relationships"><Relationship Id="rId3" Type="http://schemas.openxmlformats.org/officeDocument/2006/relationships/package" Target="../embeddings/Microsoft_Excel_Worksheet37.xlsx"/><Relationship Id="rId2" Type="http://schemas.microsoft.com/office/2011/relationships/chartColorStyle" Target="colors38.xml"/><Relationship Id="rId1" Type="http://schemas.microsoft.com/office/2011/relationships/chartStyle" Target="style38.xml"/></Relationships>
</file>

<file path=ppt/charts/_rels/chart39.xml.rels><?xml version="1.0" encoding="UTF-8" standalone="yes"?>
<Relationships xmlns="http://schemas.openxmlformats.org/package/2006/relationships"><Relationship Id="rId3" Type="http://schemas.openxmlformats.org/officeDocument/2006/relationships/package" Target="../embeddings/Microsoft_Excel_Worksheet38.xlsx"/><Relationship Id="rId2" Type="http://schemas.microsoft.com/office/2011/relationships/chartColorStyle" Target="colors39.xml"/><Relationship Id="rId1" Type="http://schemas.microsoft.com/office/2011/relationships/chartStyle" Target="style39.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40.xml.rels><?xml version="1.0" encoding="UTF-8" standalone="yes"?>
<Relationships xmlns="http://schemas.openxmlformats.org/package/2006/relationships"><Relationship Id="rId3" Type="http://schemas.openxmlformats.org/officeDocument/2006/relationships/package" Target="../embeddings/Microsoft_Excel_Worksheet39.xlsx"/><Relationship Id="rId2" Type="http://schemas.microsoft.com/office/2011/relationships/chartColorStyle" Target="colors40.xml"/><Relationship Id="rId1" Type="http://schemas.microsoft.com/office/2011/relationships/chartStyle" Target="style40.xml"/></Relationships>
</file>

<file path=ppt/charts/_rels/chart41.xml.rels><?xml version="1.0" encoding="UTF-8" standalone="yes"?>
<Relationships xmlns="http://schemas.openxmlformats.org/package/2006/relationships"><Relationship Id="rId3" Type="http://schemas.openxmlformats.org/officeDocument/2006/relationships/package" Target="../embeddings/Microsoft_Excel_Worksheet40.xlsx"/><Relationship Id="rId2" Type="http://schemas.microsoft.com/office/2011/relationships/chartColorStyle" Target="colors41.xml"/><Relationship Id="rId1" Type="http://schemas.microsoft.com/office/2011/relationships/chartStyle" Target="style41.xml"/></Relationships>
</file>

<file path=ppt/charts/_rels/chart42.xml.rels><?xml version="1.0" encoding="UTF-8" standalone="yes"?>
<Relationships xmlns="http://schemas.openxmlformats.org/package/2006/relationships"><Relationship Id="rId3" Type="http://schemas.openxmlformats.org/officeDocument/2006/relationships/package" Target="../embeddings/Microsoft_Excel_Worksheet41.xlsx"/><Relationship Id="rId2" Type="http://schemas.microsoft.com/office/2011/relationships/chartColorStyle" Target="colors42.xml"/><Relationship Id="rId1" Type="http://schemas.microsoft.com/office/2011/relationships/chartStyle" Target="style42.xml"/></Relationships>
</file>

<file path=ppt/charts/_rels/chart43.xml.rels><?xml version="1.0" encoding="UTF-8" standalone="yes"?>
<Relationships xmlns="http://schemas.openxmlformats.org/package/2006/relationships"><Relationship Id="rId3" Type="http://schemas.openxmlformats.org/officeDocument/2006/relationships/package" Target="../embeddings/Microsoft_Excel_Worksheet42.xlsx"/><Relationship Id="rId2" Type="http://schemas.microsoft.com/office/2011/relationships/chartColorStyle" Target="colors43.xml"/><Relationship Id="rId1" Type="http://schemas.microsoft.com/office/2011/relationships/chartStyle" Target="style43.xml"/></Relationships>
</file>

<file path=ppt/charts/_rels/chart44.xml.rels><?xml version="1.0" encoding="UTF-8" standalone="yes"?>
<Relationships xmlns="http://schemas.openxmlformats.org/package/2006/relationships"><Relationship Id="rId3" Type="http://schemas.openxmlformats.org/officeDocument/2006/relationships/package" Target="../embeddings/Microsoft_Excel_Worksheet43.xlsx"/><Relationship Id="rId2" Type="http://schemas.microsoft.com/office/2011/relationships/chartColorStyle" Target="colors44.xml"/><Relationship Id="rId1" Type="http://schemas.microsoft.com/office/2011/relationships/chartStyle" Target="style44.xml"/></Relationships>
</file>

<file path=ppt/charts/_rels/chart45.xml.rels><?xml version="1.0" encoding="UTF-8" standalone="yes"?>
<Relationships xmlns="http://schemas.openxmlformats.org/package/2006/relationships"><Relationship Id="rId3" Type="http://schemas.openxmlformats.org/officeDocument/2006/relationships/package" Target="../embeddings/Microsoft_Excel_Worksheet44.xlsx"/><Relationship Id="rId2" Type="http://schemas.microsoft.com/office/2011/relationships/chartColorStyle" Target="colors45.xml"/><Relationship Id="rId1" Type="http://schemas.microsoft.com/office/2011/relationships/chartStyle" Target="style45.xml"/></Relationships>
</file>

<file path=ppt/charts/_rels/chart46.xml.rels><?xml version="1.0" encoding="UTF-8" standalone="yes"?>
<Relationships xmlns="http://schemas.openxmlformats.org/package/2006/relationships"><Relationship Id="rId3" Type="http://schemas.openxmlformats.org/officeDocument/2006/relationships/package" Target="../embeddings/Microsoft_Excel_Worksheet45.xlsx"/><Relationship Id="rId2" Type="http://schemas.microsoft.com/office/2011/relationships/chartColorStyle" Target="colors46.xml"/><Relationship Id="rId1" Type="http://schemas.microsoft.com/office/2011/relationships/chartStyle" Target="style46.xml"/></Relationships>
</file>

<file path=ppt/charts/_rels/chart47.xml.rels><?xml version="1.0" encoding="UTF-8" standalone="yes"?>
<Relationships xmlns="http://schemas.openxmlformats.org/package/2006/relationships"><Relationship Id="rId3" Type="http://schemas.openxmlformats.org/officeDocument/2006/relationships/package" Target="../embeddings/Microsoft_Excel_Worksheet46.xlsx"/><Relationship Id="rId2" Type="http://schemas.microsoft.com/office/2011/relationships/chartColorStyle" Target="colors47.xml"/><Relationship Id="rId1" Type="http://schemas.microsoft.com/office/2011/relationships/chartStyle" Target="style47.xml"/></Relationships>
</file>

<file path=ppt/charts/_rels/chart48.xml.rels><?xml version="1.0" encoding="UTF-8" standalone="yes"?>
<Relationships xmlns="http://schemas.openxmlformats.org/package/2006/relationships"><Relationship Id="rId3" Type="http://schemas.openxmlformats.org/officeDocument/2006/relationships/package" Target="../embeddings/Microsoft_Excel_Worksheet47.xlsx"/><Relationship Id="rId2" Type="http://schemas.microsoft.com/office/2011/relationships/chartColorStyle" Target="colors48.xml"/><Relationship Id="rId1" Type="http://schemas.microsoft.com/office/2011/relationships/chartStyle" Target="style48.xml"/></Relationships>
</file>

<file path=ppt/charts/_rels/chart49.xml.rels><?xml version="1.0" encoding="UTF-8" standalone="yes"?>
<Relationships xmlns="http://schemas.openxmlformats.org/package/2006/relationships"><Relationship Id="rId3" Type="http://schemas.openxmlformats.org/officeDocument/2006/relationships/package" Target="../embeddings/Microsoft_Excel_Worksheet48.xlsx"/><Relationship Id="rId2" Type="http://schemas.microsoft.com/office/2011/relationships/chartColorStyle" Target="colors49.xml"/><Relationship Id="rId1" Type="http://schemas.microsoft.com/office/2011/relationships/chartStyle" Target="style49.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50.xml.rels><?xml version="1.0" encoding="UTF-8" standalone="yes"?>
<Relationships xmlns="http://schemas.openxmlformats.org/package/2006/relationships"><Relationship Id="rId3" Type="http://schemas.openxmlformats.org/officeDocument/2006/relationships/package" Target="../embeddings/Microsoft_Excel_Worksheet49.xlsx"/><Relationship Id="rId2" Type="http://schemas.microsoft.com/office/2011/relationships/chartColorStyle" Target="colors50.xml"/><Relationship Id="rId1" Type="http://schemas.microsoft.com/office/2011/relationships/chartStyle" Target="style50.xml"/></Relationships>
</file>

<file path=ppt/charts/_rels/chart51.xml.rels><?xml version="1.0" encoding="UTF-8" standalone="yes"?>
<Relationships xmlns="http://schemas.openxmlformats.org/package/2006/relationships"><Relationship Id="rId3" Type="http://schemas.openxmlformats.org/officeDocument/2006/relationships/package" Target="../embeddings/Microsoft_Excel_Worksheet50.xlsx"/><Relationship Id="rId2" Type="http://schemas.microsoft.com/office/2011/relationships/chartColorStyle" Target="colors51.xml"/><Relationship Id="rId1" Type="http://schemas.microsoft.com/office/2011/relationships/chartStyle" Target="style51.xml"/></Relationships>
</file>

<file path=ppt/charts/_rels/chart52.xml.rels><?xml version="1.0" encoding="UTF-8" standalone="yes"?>
<Relationships xmlns="http://schemas.openxmlformats.org/package/2006/relationships"><Relationship Id="rId3" Type="http://schemas.openxmlformats.org/officeDocument/2006/relationships/package" Target="../embeddings/Microsoft_Excel_Worksheet51.xlsx"/><Relationship Id="rId2" Type="http://schemas.microsoft.com/office/2011/relationships/chartColorStyle" Target="colors52.xml"/><Relationship Id="rId1" Type="http://schemas.microsoft.com/office/2011/relationships/chartStyle" Target="style52.xml"/></Relationships>
</file>

<file path=ppt/charts/_rels/chart53.xml.rels><?xml version="1.0" encoding="UTF-8" standalone="yes"?>
<Relationships xmlns="http://schemas.openxmlformats.org/package/2006/relationships"><Relationship Id="rId3" Type="http://schemas.openxmlformats.org/officeDocument/2006/relationships/package" Target="../embeddings/Microsoft_Excel_Worksheet52.xlsx"/><Relationship Id="rId2" Type="http://schemas.microsoft.com/office/2011/relationships/chartColorStyle" Target="colors53.xml"/><Relationship Id="rId1" Type="http://schemas.microsoft.com/office/2011/relationships/chartStyle" Target="style53.xml"/></Relationships>
</file>

<file path=ppt/charts/_rels/chart54.xml.rels><?xml version="1.0" encoding="UTF-8" standalone="yes"?>
<Relationships xmlns="http://schemas.openxmlformats.org/package/2006/relationships"><Relationship Id="rId3" Type="http://schemas.openxmlformats.org/officeDocument/2006/relationships/package" Target="../embeddings/Microsoft_Excel_Worksheet53.xlsx"/><Relationship Id="rId2" Type="http://schemas.microsoft.com/office/2011/relationships/chartColorStyle" Target="colors54.xml"/><Relationship Id="rId1" Type="http://schemas.microsoft.com/office/2011/relationships/chartStyle" Target="style54.xml"/></Relationships>
</file>

<file path=ppt/charts/_rels/chart55.xml.rels><?xml version="1.0" encoding="UTF-8" standalone="yes"?>
<Relationships xmlns="http://schemas.openxmlformats.org/package/2006/relationships"><Relationship Id="rId3" Type="http://schemas.openxmlformats.org/officeDocument/2006/relationships/package" Target="../embeddings/Microsoft_Excel_Worksheet54.xlsx"/><Relationship Id="rId2" Type="http://schemas.microsoft.com/office/2011/relationships/chartColorStyle" Target="colors55.xml"/><Relationship Id="rId1" Type="http://schemas.microsoft.com/office/2011/relationships/chartStyle" Target="style55.xml"/></Relationships>
</file>

<file path=ppt/charts/_rels/chart56.xml.rels><?xml version="1.0" encoding="UTF-8" standalone="yes"?>
<Relationships xmlns="http://schemas.openxmlformats.org/package/2006/relationships"><Relationship Id="rId3" Type="http://schemas.openxmlformats.org/officeDocument/2006/relationships/package" Target="../embeddings/Microsoft_Excel_Worksheet55.xlsx"/><Relationship Id="rId2" Type="http://schemas.microsoft.com/office/2011/relationships/chartColorStyle" Target="colors56.xml"/><Relationship Id="rId1" Type="http://schemas.microsoft.com/office/2011/relationships/chartStyle" Target="style56.xml"/></Relationships>
</file>

<file path=ppt/charts/_rels/chart57.xml.rels><?xml version="1.0" encoding="UTF-8" standalone="yes"?>
<Relationships xmlns="http://schemas.openxmlformats.org/package/2006/relationships"><Relationship Id="rId3" Type="http://schemas.openxmlformats.org/officeDocument/2006/relationships/package" Target="../embeddings/Microsoft_Excel_Worksheet56.xlsx"/><Relationship Id="rId2" Type="http://schemas.microsoft.com/office/2011/relationships/chartColorStyle" Target="colors57.xml"/><Relationship Id="rId1" Type="http://schemas.microsoft.com/office/2011/relationships/chartStyle" Target="style57.xml"/></Relationships>
</file>

<file path=ppt/charts/_rels/chart58.xml.rels><?xml version="1.0" encoding="UTF-8" standalone="yes"?>
<Relationships xmlns="http://schemas.openxmlformats.org/package/2006/relationships"><Relationship Id="rId3" Type="http://schemas.openxmlformats.org/officeDocument/2006/relationships/package" Target="../embeddings/Microsoft_Excel_Worksheet57.xlsx"/><Relationship Id="rId2" Type="http://schemas.microsoft.com/office/2011/relationships/chartColorStyle" Target="colors58.xml"/><Relationship Id="rId1" Type="http://schemas.microsoft.com/office/2011/relationships/chartStyle" Target="style58.xml"/></Relationships>
</file>

<file path=ppt/charts/_rels/chart59.xml.rels><?xml version="1.0" encoding="UTF-8" standalone="yes"?>
<Relationships xmlns="http://schemas.openxmlformats.org/package/2006/relationships"><Relationship Id="rId3" Type="http://schemas.openxmlformats.org/officeDocument/2006/relationships/package" Target="../embeddings/Microsoft_Excel_Worksheet58.xlsx"/><Relationship Id="rId2" Type="http://schemas.microsoft.com/office/2011/relationships/chartColorStyle" Target="colors59.xml"/><Relationship Id="rId1" Type="http://schemas.microsoft.com/office/2011/relationships/chartStyle" Target="style59.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60.xml.rels><?xml version="1.0" encoding="UTF-8" standalone="yes"?>
<Relationships xmlns="http://schemas.openxmlformats.org/package/2006/relationships"><Relationship Id="rId3" Type="http://schemas.openxmlformats.org/officeDocument/2006/relationships/package" Target="../embeddings/Microsoft_Excel_Worksheet59.xlsx"/><Relationship Id="rId2" Type="http://schemas.microsoft.com/office/2011/relationships/chartColorStyle" Target="colors60.xml"/><Relationship Id="rId1" Type="http://schemas.microsoft.com/office/2011/relationships/chartStyle" Target="style60.xml"/></Relationships>
</file>

<file path=ppt/charts/_rels/chart61.xml.rels><?xml version="1.0" encoding="UTF-8" standalone="yes"?>
<Relationships xmlns="http://schemas.openxmlformats.org/package/2006/relationships"><Relationship Id="rId3" Type="http://schemas.openxmlformats.org/officeDocument/2006/relationships/package" Target="../embeddings/Microsoft_Excel_Worksheet60.xlsx"/><Relationship Id="rId2" Type="http://schemas.microsoft.com/office/2011/relationships/chartColorStyle" Target="colors61.xml"/><Relationship Id="rId1" Type="http://schemas.microsoft.com/office/2011/relationships/chartStyle" Target="style61.xml"/></Relationships>
</file>

<file path=ppt/charts/_rels/chart62.xml.rels><?xml version="1.0" encoding="UTF-8" standalone="yes"?>
<Relationships xmlns="http://schemas.openxmlformats.org/package/2006/relationships"><Relationship Id="rId3" Type="http://schemas.openxmlformats.org/officeDocument/2006/relationships/package" Target="../embeddings/Microsoft_Excel_Worksheet61.xlsx"/><Relationship Id="rId2" Type="http://schemas.microsoft.com/office/2011/relationships/chartColorStyle" Target="colors62.xml"/><Relationship Id="rId1" Type="http://schemas.microsoft.com/office/2011/relationships/chartStyle" Target="style62.xml"/></Relationships>
</file>

<file path=ppt/charts/_rels/chart63.xml.rels><?xml version="1.0" encoding="UTF-8" standalone="yes"?>
<Relationships xmlns="http://schemas.openxmlformats.org/package/2006/relationships"><Relationship Id="rId3" Type="http://schemas.openxmlformats.org/officeDocument/2006/relationships/package" Target="../embeddings/Microsoft_Excel_Worksheet62.xlsx"/><Relationship Id="rId2" Type="http://schemas.microsoft.com/office/2011/relationships/chartColorStyle" Target="colors63.xml"/><Relationship Id="rId1" Type="http://schemas.microsoft.com/office/2011/relationships/chartStyle" Target="style63.xml"/></Relationships>
</file>

<file path=ppt/charts/_rels/chart64.xml.rels><?xml version="1.0" encoding="UTF-8" standalone="yes"?>
<Relationships xmlns="http://schemas.openxmlformats.org/package/2006/relationships"><Relationship Id="rId3" Type="http://schemas.openxmlformats.org/officeDocument/2006/relationships/package" Target="../embeddings/Microsoft_Excel_Worksheet63.xlsx"/><Relationship Id="rId2" Type="http://schemas.microsoft.com/office/2011/relationships/chartColorStyle" Target="colors64.xml"/><Relationship Id="rId1" Type="http://schemas.microsoft.com/office/2011/relationships/chartStyle" Target="style64.xml"/></Relationships>
</file>

<file path=ppt/charts/_rels/chart65.xml.rels><?xml version="1.0" encoding="UTF-8" standalone="yes"?>
<Relationships xmlns="http://schemas.openxmlformats.org/package/2006/relationships"><Relationship Id="rId3" Type="http://schemas.openxmlformats.org/officeDocument/2006/relationships/package" Target="../embeddings/Microsoft_Excel_Worksheet64.xlsx"/><Relationship Id="rId2" Type="http://schemas.microsoft.com/office/2011/relationships/chartColorStyle" Target="colors65.xml"/><Relationship Id="rId1" Type="http://schemas.microsoft.com/office/2011/relationships/chartStyle" Target="style65.xml"/></Relationships>
</file>

<file path=ppt/charts/_rels/chart66.xml.rels><?xml version="1.0" encoding="UTF-8" standalone="yes"?>
<Relationships xmlns="http://schemas.openxmlformats.org/package/2006/relationships"><Relationship Id="rId3" Type="http://schemas.openxmlformats.org/officeDocument/2006/relationships/package" Target="../embeddings/Microsoft_Excel_Worksheet65.xlsx"/><Relationship Id="rId2" Type="http://schemas.microsoft.com/office/2011/relationships/chartColorStyle" Target="colors66.xml"/><Relationship Id="rId1" Type="http://schemas.microsoft.com/office/2011/relationships/chartStyle" Target="style66.xml"/></Relationships>
</file>

<file path=ppt/charts/_rels/chart67.xml.rels><?xml version="1.0" encoding="UTF-8" standalone="yes"?>
<Relationships xmlns="http://schemas.openxmlformats.org/package/2006/relationships"><Relationship Id="rId3" Type="http://schemas.openxmlformats.org/officeDocument/2006/relationships/package" Target="../embeddings/Microsoft_Excel_Worksheet66.xlsx"/><Relationship Id="rId2" Type="http://schemas.microsoft.com/office/2011/relationships/chartColorStyle" Target="colors67.xml"/><Relationship Id="rId1" Type="http://schemas.microsoft.com/office/2011/relationships/chartStyle" Target="style67.xml"/></Relationships>
</file>

<file path=ppt/charts/_rels/chart68.xml.rels><?xml version="1.0" encoding="UTF-8" standalone="yes"?>
<Relationships xmlns="http://schemas.openxmlformats.org/package/2006/relationships"><Relationship Id="rId3" Type="http://schemas.openxmlformats.org/officeDocument/2006/relationships/package" Target="../embeddings/Microsoft_Excel_Worksheet67.xlsx"/><Relationship Id="rId2" Type="http://schemas.microsoft.com/office/2011/relationships/chartColorStyle" Target="colors68.xml"/><Relationship Id="rId1" Type="http://schemas.microsoft.com/office/2011/relationships/chartStyle" Target="style68.xml"/></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1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C$2:$C$10</c:f>
              <c:numCache>
                <c:formatCode>General</c:formatCode>
                <c:ptCount val="9"/>
                <c:pt idx="6" formatCode="&quot;Rp&quot;#,##0;\-&quot;Rp&quot;#,##0;&quot;Rp&quot;#,##0">
                  <c:v>2792.8312052902656</c:v>
                </c:pt>
                <c:pt idx="8" formatCode="&quot;Rp&quot;#,##0;\-&quot;Rp&quot;#,##0;&quot;Rp&quot;#,##0">
                  <c:v>2863.265088906123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5ML</c:v>
                </c:pt>
              </c:strCache>
            </c:strRef>
          </c:tx>
          <c:spPr>
            <a:ln w="19050">
              <a:noFill/>
            </a:ln>
          </c:spPr>
          <c:marker>
            <c:symbol val="dash"/>
            <c:size val="20"/>
            <c:spPr>
              <a:solidFill>
                <a:srgbClr val="FF99FF"/>
              </a:solidFill>
              <a:ln w="9525">
                <a:noFill/>
              </a:ln>
              <a:effectLst/>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D$2:$D$10</c:f>
              <c:numCache>
                <c:formatCode>General</c:formatCode>
                <c:ptCount val="9"/>
                <c:pt idx="4" formatCode="&quot;Rp&quot;#,##0;\-&quot;Rp&quot;#,##0;&quot;Rp&quot;#,##0">
                  <c:v>2914.5186879531279</c:v>
                </c:pt>
                <c:pt idx="5" formatCode="&quot;Rp&quot;#,##0;\-&quot;Rp&quot;#,##0;&quot;Rp&quot;#,##0">
                  <c:v>2882.3390328978212</c:v>
                </c:pt>
                <c:pt idx="6" formatCode="&quot;Rp&quot;#,##0;\-&quot;Rp&quot;#,##0;&quot;Rp&quot;#,##0">
                  <c:v>2917.900972218001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E$2:$E$10</c:f>
              <c:numCache>
                <c:formatCode>"Rp"#,##0;\-"Rp"#,##0;"Rp"#,##0</c:formatCode>
                <c:ptCount val="9"/>
                <c:pt idx="0">
                  <c:v>2950.986704961932</c:v>
                </c:pt>
                <c:pt idx="1">
                  <c:v>2935.0404904988445</c:v>
                </c:pt>
                <c:pt idx="4">
                  <c:v>3498.98163841807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4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F$2:$F$10</c:f>
              <c:numCache>
                <c:formatCode>General</c:formatCode>
                <c:ptCount val="9"/>
                <c:pt idx="2" formatCode="&quot;Rp&quot;#,##0;\-&quot;Rp&quot;#,##0;&quot;Rp&quot;#,##0">
                  <c:v>10676.51897382930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G$2:$G$10</c:f>
              <c:numCache>
                <c:formatCode>General</c:formatCode>
                <c:ptCount val="9"/>
                <c:pt idx="6" formatCode="&quot;Rp&quot;#,##0;\-&quot;Rp&quot;#,##0;&quot;Rp&quot;#,##0">
                  <c:v>4568.5241001671293</c:v>
                </c:pt>
                <c:pt idx="8" formatCode="&quot;Rp&quot;#,##0;\-&quot;Rp&quot;#,##0;&quot;Rp&quot;#,##0">
                  <c:v>5071.0509045291883</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H$2:$H$10</c:f>
              <c:numCache>
                <c:formatCode>General</c:formatCode>
                <c:ptCount val="9"/>
                <c:pt idx="3" formatCode="&quot;Rp&quot;#,##0;\-&quot;Rp&quot;#,##0;&quot;Rp&quot;#,##0">
                  <c:v>10486.92809809597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I$2:$I$10</c:f>
              <c:numCache>
                <c:formatCode>General</c:formatCode>
                <c:ptCount val="9"/>
                <c:pt idx="4" formatCode="&quot;Rp&quot;#,##0;\-&quot;Rp&quot;#,##0;&quot;Rp&quot;#,##0">
                  <c:v>4224</c:v>
                </c:pt>
                <c:pt idx="6" formatCode="&quot;Rp&quot;#,##0;\-&quot;Rp&quot;#,##0;&quot;Rp&quot;#,##0">
                  <c:v>3936.4490445859874</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J$2:$J$10</c:f>
              <c:numCache>
                <c:formatCode>"Rp"#,##0;\-"Rp"#,##0;"Rp"#,##0</c:formatCode>
                <c:ptCount val="9"/>
                <c:pt idx="0">
                  <c:v>4978.4167211904914</c:v>
                </c:pt>
                <c:pt idx="1">
                  <c:v>4828.154936637781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25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K$2:$K$10</c:f>
              <c:numCache>
                <c:formatCode>General</c:formatCode>
                <c:ptCount val="9"/>
                <c:pt idx="6" formatCode="&quot;Rp&quot;#,##0;\-&quot;Rp&quot;#,##0;&quot;Rp&quot;#,##0">
                  <c:v>6233.2118810714819</c:v>
                </c:pt>
                <c:pt idx="7" formatCode="&quot;Rp&quot;#,##0;\-&quot;Rp&quot;#,##0;&quot;Rp&quot;#,##0">
                  <c:v>6022.6814128703618</c:v>
                </c:pt>
                <c:pt idx="8" formatCode="&quot;Rp&quot;#,##0;\-&quot;Rp&quot;#,##0;&quot;Rp&quot;#,##0">
                  <c:v>10037.38399738650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40ML</c:v>
                </c:pt>
              </c:strCache>
            </c:strRef>
          </c:tx>
          <c:spPr>
            <a:ln w="19050">
              <a:noFill/>
            </a:ln>
          </c:spPr>
          <c:marker>
            <c:symbol val="dash"/>
            <c:size val="20"/>
            <c:spPr>
              <a:solidFill>
                <a:schemeClr val="accent4">
                  <a:lumMod val="40000"/>
                  <a:lumOff val="60000"/>
                </a:schemeClr>
              </a:solidFill>
              <a:ln>
                <a:noFill/>
              </a:ln>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L$2:$L$10</c:f>
              <c:numCache>
                <c:formatCode>General</c:formatCode>
                <c:ptCount val="9"/>
                <c:pt idx="8" formatCode="&quot;Rp&quot;#,##0;\-&quot;Rp&quot;#,##0;&quot;Rp&quot;#,##0">
                  <c:v>10278.81868781226</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M$2:$M$10</c:f>
              <c:numCache>
                <c:formatCode>"Rp"#,##0;\-"Rp"#,##0;"Rp"#,##0</c:formatCode>
                <c:ptCount val="9"/>
                <c:pt idx="0">
                  <c:v>6205.3290831298791</c:v>
                </c:pt>
                <c:pt idx="1">
                  <c:v>6205.7844930203155</c:v>
                </c:pt>
                <c:pt idx="4">
                  <c:v>6319.848799620125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N$2:$N$10</c:f>
              <c:numCache>
                <c:formatCode>General</c:formatCode>
                <c:ptCount val="9"/>
                <c:pt idx="6" formatCode="&quot;Rp&quot;#,##0;\-&quot;Rp&quot;#,##0;&quot;Rp&quot;#,##0">
                  <c:v>18183.588646996981</c:v>
                </c:pt>
                <c:pt idx="7" formatCode="&quot;Rp&quot;#,##0;\-&quot;Rp&quot;#,##0;&quot;Rp&quot;#,##0">
                  <c:v>17582.684413769486</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9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O$2:$O$10</c:f>
              <c:numCache>
                <c:formatCode>General</c:formatCode>
                <c:ptCount val="9"/>
                <c:pt idx="4" formatCode="&quot;Rp&quot;#,##0;\-&quot;Rp&quot;#,##0;&quot;Rp&quot;#,##0">
                  <c:v>17294.696804820476</c:v>
                </c:pt>
                <c:pt idx="5" formatCode="&quot;Rp&quot;#,##0;\-&quot;Rp&quot;#,##0;&quot;Rp&quot;#,##0">
                  <c:v>16830.782852543489</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P$2:$P$10</c:f>
              <c:numCache>
                <c:formatCode>"Rp"#,##0;\-"Rp"#,##0;"Rp"#,##0</c:formatCode>
                <c:ptCount val="9"/>
                <c:pt idx="0">
                  <c:v>18190.200564131246</c:v>
                </c:pt>
                <c:pt idx="1">
                  <c:v>18043.1597676272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1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C$2:$C$10</c:f>
              <c:numCache>
                <c:formatCode>General</c:formatCode>
                <c:ptCount val="9"/>
                <c:pt idx="6" formatCode="&quot;Rp&quot;#,##0;\-&quot;Rp&quot;#,##0;&quot;Rp&quot;#,##0">
                  <c:v>2792.8312052902656</c:v>
                </c:pt>
                <c:pt idx="8" formatCode="&quot;Rp&quot;#,##0;\-&quot;Rp&quot;#,##0;&quot;Rp&quot;#,##0">
                  <c:v>2863.265088906123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5ML</c:v>
                </c:pt>
              </c:strCache>
            </c:strRef>
          </c:tx>
          <c:spPr>
            <a:ln w="19050">
              <a:noFill/>
            </a:ln>
          </c:spPr>
          <c:marker>
            <c:symbol val="dash"/>
            <c:size val="20"/>
            <c:spPr>
              <a:solidFill>
                <a:srgbClr val="FF99FF"/>
              </a:solidFill>
              <a:ln w="9525">
                <a:noFill/>
              </a:ln>
              <a:effectLst/>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D$2:$D$10</c:f>
              <c:numCache>
                <c:formatCode>General</c:formatCode>
                <c:ptCount val="9"/>
                <c:pt idx="4" formatCode="&quot;Rp&quot;#,##0;\-&quot;Rp&quot;#,##0;&quot;Rp&quot;#,##0">
                  <c:v>2914.5186879531279</c:v>
                </c:pt>
                <c:pt idx="5" formatCode="&quot;Rp&quot;#,##0;\-&quot;Rp&quot;#,##0;&quot;Rp&quot;#,##0">
                  <c:v>2882.3390328978212</c:v>
                </c:pt>
                <c:pt idx="6" formatCode="&quot;Rp&quot;#,##0;\-&quot;Rp&quot;#,##0;&quot;Rp&quot;#,##0">
                  <c:v>2917.900972218001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E$2:$E$10</c:f>
              <c:numCache>
                <c:formatCode>"Rp"#,##0;\-"Rp"#,##0;"Rp"#,##0</c:formatCode>
                <c:ptCount val="9"/>
                <c:pt idx="0">
                  <c:v>2950.986704961932</c:v>
                </c:pt>
                <c:pt idx="1">
                  <c:v>2935.0404904988445</c:v>
                </c:pt>
                <c:pt idx="4">
                  <c:v>3498.98163841807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4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F$2:$F$10</c:f>
              <c:numCache>
                <c:formatCode>General</c:formatCode>
                <c:ptCount val="9"/>
                <c:pt idx="2" formatCode="&quot;Rp&quot;#,##0;\-&quot;Rp&quot;#,##0;&quot;Rp&quot;#,##0">
                  <c:v>10676.51897382930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G$2:$G$10</c:f>
              <c:numCache>
                <c:formatCode>General</c:formatCode>
                <c:ptCount val="9"/>
                <c:pt idx="6" formatCode="&quot;Rp&quot;#,##0;\-&quot;Rp&quot;#,##0;&quot;Rp&quot;#,##0">
                  <c:v>4568.5241001671293</c:v>
                </c:pt>
                <c:pt idx="8" formatCode="&quot;Rp&quot;#,##0;\-&quot;Rp&quot;#,##0;&quot;Rp&quot;#,##0">
                  <c:v>5071.0509045291883</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H$2:$H$10</c:f>
              <c:numCache>
                <c:formatCode>General</c:formatCode>
                <c:ptCount val="9"/>
                <c:pt idx="3" formatCode="&quot;Rp&quot;#,##0;\-&quot;Rp&quot;#,##0;&quot;Rp&quot;#,##0">
                  <c:v>10486.92809809597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I$2:$I$10</c:f>
              <c:numCache>
                <c:formatCode>General</c:formatCode>
                <c:ptCount val="9"/>
                <c:pt idx="4" formatCode="&quot;Rp&quot;#,##0;\-&quot;Rp&quot;#,##0;&quot;Rp&quot;#,##0">
                  <c:v>4224</c:v>
                </c:pt>
                <c:pt idx="6" formatCode="&quot;Rp&quot;#,##0;\-&quot;Rp&quot;#,##0;&quot;Rp&quot;#,##0">
                  <c:v>3936.4490445859874</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J$2:$J$10</c:f>
              <c:numCache>
                <c:formatCode>"Rp"#,##0;\-"Rp"#,##0;"Rp"#,##0</c:formatCode>
                <c:ptCount val="9"/>
                <c:pt idx="0">
                  <c:v>4978.4167211904914</c:v>
                </c:pt>
                <c:pt idx="1">
                  <c:v>4828.154936637781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25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K$2:$K$10</c:f>
              <c:numCache>
                <c:formatCode>General</c:formatCode>
                <c:ptCount val="9"/>
                <c:pt idx="6" formatCode="&quot;Rp&quot;#,##0;\-&quot;Rp&quot;#,##0;&quot;Rp&quot;#,##0">
                  <c:v>6233.2118810714819</c:v>
                </c:pt>
                <c:pt idx="7" formatCode="&quot;Rp&quot;#,##0;\-&quot;Rp&quot;#,##0;&quot;Rp&quot;#,##0">
                  <c:v>6022.6814128703618</c:v>
                </c:pt>
                <c:pt idx="8" formatCode="&quot;Rp&quot;#,##0;\-&quot;Rp&quot;#,##0;&quot;Rp&quot;#,##0">
                  <c:v>10037.38399738650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40ML</c:v>
                </c:pt>
              </c:strCache>
            </c:strRef>
          </c:tx>
          <c:spPr>
            <a:ln w="19050">
              <a:noFill/>
            </a:ln>
          </c:spPr>
          <c:marker>
            <c:symbol val="dash"/>
            <c:size val="20"/>
            <c:spPr>
              <a:solidFill>
                <a:schemeClr val="accent4">
                  <a:lumMod val="40000"/>
                  <a:lumOff val="60000"/>
                </a:schemeClr>
              </a:solidFill>
              <a:ln>
                <a:noFill/>
              </a:ln>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L$2:$L$10</c:f>
              <c:numCache>
                <c:formatCode>General</c:formatCode>
                <c:ptCount val="9"/>
                <c:pt idx="8" formatCode="&quot;Rp&quot;#,##0;\-&quot;Rp&quot;#,##0;&quot;Rp&quot;#,##0">
                  <c:v>10278.81868781226</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M$2:$M$10</c:f>
              <c:numCache>
                <c:formatCode>"Rp"#,##0;\-"Rp"#,##0;"Rp"#,##0</c:formatCode>
                <c:ptCount val="9"/>
                <c:pt idx="0">
                  <c:v>6205.3290831298791</c:v>
                </c:pt>
                <c:pt idx="1">
                  <c:v>6205.7844930203155</c:v>
                </c:pt>
                <c:pt idx="4">
                  <c:v>6319.848799620125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N$2:$N$10</c:f>
              <c:numCache>
                <c:formatCode>General</c:formatCode>
                <c:ptCount val="9"/>
                <c:pt idx="6" formatCode="&quot;Rp&quot;#,##0;\-&quot;Rp&quot;#,##0;&quot;Rp&quot;#,##0">
                  <c:v>18183.588646996981</c:v>
                </c:pt>
                <c:pt idx="7" formatCode="&quot;Rp&quot;#,##0;\-&quot;Rp&quot;#,##0;&quot;Rp&quot;#,##0">
                  <c:v>17582.684413769486</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9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O$2:$O$10</c:f>
              <c:numCache>
                <c:formatCode>General</c:formatCode>
                <c:ptCount val="9"/>
                <c:pt idx="4" formatCode="&quot;Rp&quot;#,##0;\-&quot;Rp&quot;#,##0;&quot;Rp&quot;#,##0">
                  <c:v>17294.696804820476</c:v>
                </c:pt>
                <c:pt idx="5" formatCode="&quot;Rp&quot;#,##0;\-&quot;Rp&quot;#,##0;&quot;Rp&quot;#,##0">
                  <c:v>16830.782852543489</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P$2:$P$10</c:f>
              <c:numCache>
                <c:formatCode>"Rp"#,##0;\-"Rp"#,##0;"Rp"#,##0</c:formatCode>
                <c:ptCount val="9"/>
                <c:pt idx="0">
                  <c:v>18190.200564131246</c:v>
                </c:pt>
                <c:pt idx="1">
                  <c:v>18043.1597676272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1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C$2:$C$10</c:f>
              <c:numCache>
                <c:formatCode>General</c:formatCode>
                <c:ptCount val="9"/>
                <c:pt idx="6" formatCode="&quot;Rp&quot;#,##0;\-&quot;Rp&quot;#,##0;&quot;Rp&quot;#,##0">
                  <c:v>2792.8312052902656</c:v>
                </c:pt>
                <c:pt idx="8" formatCode="&quot;Rp&quot;#,##0;\-&quot;Rp&quot;#,##0;&quot;Rp&quot;#,##0">
                  <c:v>2863.265088906123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5ML</c:v>
                </c:pt>
              </c:strCache>
            </c:strRef>
          </c:tx>
          <c:spPr>
            <a:ln w="19050">
              <a:noFill/>
            </a:ln>
          </c:spPr>
          <c:marker>
            <c:symbol val="dash"/>
            <c:size val="20"/>
            <c:spPr>
              <a:solidFill>
                <a:srgbClr val="FF99FF"/>
              </a:solidFill>
              <a:ln w="9525">
                <a:noFill/>
              </a:ln>
              <a:effectLst/>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D$2:$D$10</c:f>
              <c:numCache>
                <c:formatCode>General</c:formatCode>
                <c:ptCount val="9"/>
                <c:pt idx="4" formatCode="&quot;Rp&quot;#,##0;\-&quot;Rp&quot;#,##0;&quot;Rp&quot;#,##0">
                  <c:v>2914.5186879531279</c:v>
                </c:pt>
                <c:pt idx="5" formatCode="&quot;Rp&quot;#,##0;\-&quot;Rp&quot;#,##0;&quot;Rp&quot;#,##0">
                  <c:v>2882.3390328978212</c:v>
                </c:pt>
                <c:pt idx="6" formatCode="&quot;Rp&quot;#,##0;\-&quot;Rp&quot;#,##0;&quot;Rp&quot;#,##0">
                  <c:v>2917.900972218001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E$2:$E$10</c:f>
              <c:numCache>
                <c:formatCode>"Rp"#,##0;\-"Rp"#,##0;"Rp"#,##0</c:formatCode>
                <c:ptCount val="9"/>
                <c:pt idx="0">
                  <c:v>2950.986704961932</c:v>
                </c:pt>
                <c:pt idx="1">
                  <c:v>2935.0404904988445</c:v>
                </c:pt>
                <c:pt idx="4">
                  <c:v>3498.98163841807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4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F$2:$F$10</c:f>
              <c:numCache>
                <c:formatCode>General</c:formatCode>
                <c:ptCount val="9"/>
                <c:pt idx="2" formatCode="&quot;Rp&quot;#,##0;\-&quot;Rp&quot;#,##0;&quot;Rp&quot;#,##0">
                  <c:v>10676.51897382930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G$2:$G$10</c:f>
              <c:numCache>
                <c:formatCode>General</c:formatCode>
                <c:ptCount val="9"/>
                <c:pt idx="6" formatCode="&quot;Rp&quot;#,##0;\-&quot;Rp&quot;#,##0;&quot;Rp&quot;#,##0">
                  <c:v>4568.5241001671293</c:v>
                </c:pt>
                <c:pt idx="8" formatCode="&quot;Rp&quot;#,##0;\-&quot;Rp&quot;#,##0;&quot;Rp&quot;#,##0">
                  <c:v>5071.0509045291883</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H$2:$H$10</c:f>
              <c:numCache>
                <c:formatCode>General</c:formatCode>
                <c:ptCount val="9"/>
                <c:pt idx="3" formatCode="&quot;Rp&quot;#,##0;\-&quot;Rp&quot;#,##0;&quot;Rp&quot;#,##0">
                  <c:v>10486.92809809597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I$2:$I$10</c:f>
              <c:numCache>
                <c:formatCode>General</c:formatCode>
                <c:ptCount val="9"/>
                <c:pt idx="4" formatCode="&quot;Rp&quot;#,##0;\-&quot;Rp&quot;#,##0;&quot;Rp&quot;#,##0">
                  <c:v>4224</c:v>
                </c:pt>
                <c:pt idx="6" formatCode="&quot;Rp&quot;#,##0;\-&quot;Rp&quot;#,##0;&quot;Rp&quot;#,##0">
                  <c:v>3936.4490445859874</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J$2:$J$10</c:f>
              <c:numCache>
                <c:formatCode>"Rp"#,##0;\-"Rp"#,##0;"Rp"#,##0</c:formatCode>
                <c:ptCount val="9"/>
                <c:pt idx="0">
                  <c:v>4978.4167211904914</c:v>
                </c:pt>
                <c:pt idx="1">
                  <c:v>4828.154936637781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25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K$2:$K$10</c:f>
              <c:numCache>
                <c:formatCode>General</c:formatCode>
                <c:ptCount val="9"/>
                <c:pt idx="6" formatCode="&quot;Rp&quot;#,##0;\-&quot;Rp&quot;#,##0;&quot;Rp&quot;#,##0">
                  <c:v>6233.2118810714819</c:v>
                </c:pt>
                <c:pt idx="7" formatCode="&quot;Rp&quot;#,##0;\-&quot;Rp&quot;#,##0;&quot;Rp&quot;#,##0">
                  <c:v>6022.6814128703618</c:v>
                </c:pt>
                <c:pt idx="8" formatCode="&quot;Rp&quot;#,##0;\-&quot;Rp&quot;#,##0;&quot;Rp&quot;#,##0">
                  <c:v>10037.38399738650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40ML</c:v>
                </c:pt>
              </c:strCache>
            </c:strRef>
          </c:tx>
          <c:spPr>
            <a:ln w="19050">
              <a:noFill/>
            </a:ln>
          </c:spPr>
          <c:marker>
            <c:symbol val="dash"/>
            <c:size val="20"/>
            <c:spPr>
              <a:solidFill>
                <a:schemeClr val="accent4">
                  <a:lumMod val="40000"/>
                  <a:lumOff val="60000"/>
                </a:schemeClr>
              </a:solidFill>
              <a:ln>
                <a:noFill/>
              </a:ln>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L$2:$L$10</c:f>
              <c:numCache>
                <c:formatCode>General</c:formatCode>
                <c:ptCount val="9"/>
                <c:pt idx="8" formatCode="&quot;Rp&quot;#,##0;\-&quot;Rp&quot;#,##0;&quot;Rp&quot;#,##0">
                  <c:v>10278.81868781226</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M$2:$M$10</c:f>
              <c:numCache>
                <c:formatCode>"Rp"#,##0;\-"Rp"#,##0;"Rp"#,##0</c:formatCode>
                <c:ptCount val="9"/>
                <c:pt idx="0">
                  <c:v>6205.3290831298791</c:v>
                </c:pt>
                <c:pt idx="1">
                  <c:v>6205.7844930203155</c:v>
                </c:pt>
                <c:pt idx="4">
                  <c:v>6319.848799620125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N$2:$N$10</c:f>
              <c:numCache>
                <c:formatCode>General</c:formatCode>
                <c:ptCount val="9"/>
                <c:pt idx="6" formatCode="&quot;Rp&quot;#,##0;\-&quot;Rp&quot;#,##0;&quot;Rp&quot;#,##0">
                  <c:v>18183.588646996981</c:v>
                </c:pt>
                <c:pt idx="7" formatCode="&quot;Rp&quot;#,##0;\-&quot;Rp&quot;#,##0;&quot;Rp&quot;#,##0">
                  <c:v>17582.684413769486</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9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O$2:$O$10</c:f>
              <c:numCache>
                <c:formatCode>General</c:formatCode>
                <c:ptCount val="9"/>
                <c:pt idx="4" formatCode="&quot;Rp&quot;#,##0;\-&quot;Rp&quot;#,##0;&quot;Rp&quot;#,##0">
                  <c:v>17294.696804820476</c:v>
                </c:pt>
                <c:pt idx="5" formatCode="&quot;Rp&quot;#,##0;\-&quot;Rp&quot;#,##0;&quot;Rp&quot;#,##0">
                  <c:v>16830.782852543489</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P$2:$P$10</c:f>
              <c:numCache>
                <c:formatCode>"Rp"#,##0;\-"Rp"#,##0;"Rp"#,##0</c:formatCode>
                <c:ptCount val="9"/>
                <c:pt idx="0">
                  <c:v>18190.200564131246</c:v>
                </c:pt>
                <c:pt idx="1">
                  <c:v>18043.1597676272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1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C$2:$C$10</c:f>
              <c:numCache>
                <c:formatCode>General</c:formatCode>
                <c:ptCount val="9"/>
                <c:pt idx="6" formatCode="&quot;Rp&quot;#,##0;\-&quot;Rp&quot;#,##0;&quot;Rp&quot;#,##0">
                  <c:v>2792.8312052902656</c:v>
                </c:pt>
                <c:pt idx="8" formatCode="&quot;Rp&quot;#,##0;\-&quot;Rp&quot;#,##0;&quot;Rp&quot;#,##0">
                  <c:v>2863.265088906123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5ML</c:v>
                </c:pt>
              </c:strCache>
            </c:strRef>
          </c:tx>
          <c:spPr>
            <a:ln w="19050">
              <a:noFill/>
            </a:ln>
          </c:spPr>
          <c:marker>
            <c:symbol val="dash"/>
            <c:size val="20"/>
            <c:spPr>
              <a:solidFill>
                <a:srgbClr val="FF99FF"/>
              </a:solidFill>
              <a:ln w="9525">
                <a:noFill/>
              </a:ln>
              <a:effectLst/>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D$2:$D$10</c:f>
              <c:numCache>
                <c:formatCode>General</c:formatCode>
                <c:ptCount val="9"/>
                <c:pt idx="4" formatCode="&quot;Rp&quot;#,##0;\-&quot;Rp&quot;#,##0;&quot;Rp&quot;#,##0">
                  <c:v>2914.5186879531279</c:v>
                </c:pt>
                <c:pt idx="5" formatCode="&quot;Rp&quot;#,##0;\-&quot;Rp&quot;#,##0;&quot;Rp&quot;#,##0">
                  <c:v>2882.3390328978212</c:v>
                </c:pt>
                <c:pt idx="6" formatCode="&quot;Rp&quot;#,##0;\-&quot;Rp&quot;#,##0;&quot;Rp&quot;#,##0">
                  <c:v>2917.900972218001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E$2:$E$10</c:f>
              <c:numCache>
                <c:formatCode>"Rp"#,##0;\-"Rp"#,##0;"Rp"#,##0</c:formatCode>
                <c:ptCount val="9"/>
                <c:pt idx="0">
                  <c:v>2950.986704961932</c:v>
                </c:pt>
                <c:pt idx="1">
                  <c:v>2935.0404904988445</c:v>
                </c:pt>
                <c:pt idx="4">
                  <c:v>3498.98163841807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4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F$2:$F$10</c:f>
              <c:numCache>
                <c:formatCode>General</c:formatCode>
                <c:ptCount val="9"/>
                <c:pt idx="2" formatCode="&quot;Rp&quot;#,##0;\-&quot;Rp&quot;#,##0;&quot;Rp&quot;#,##0">
                  <c:v>10676.51897382930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G$2:$G$10</c:f>
              <c:numCache>
                <c:formatCode>General</c:formatCode>
                <c:ptCount val="9"/>
                <c:pt idx="6" formatCode="&quot;Rp&quot;#,##0;\-&quot;Rp&quot;#,##0;&quot;Rp&quot;#,##0">
                  <c:v>4568.5241001671293</c:v>
                </c:pt>
                <c:pt idx="8" formatCode="&quot;Rp&quot;#,##0;\-&quot;Rp&quot;#,##0;&quot;Rp&quot;#,##0">
                  <c:v>5071.0509045291883</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H$2:$H$10</c:f>
              <c:numCache>
                <c:formatCode>General</c:formatCode>
                <c:ptCount val="9"/>
                <c:pt idx="3" formatCode="&quot;Rp&quot;#,##0;\-&quot;Rp&quot;#,##0;&quot;Rp&quot;#,##0">
                  <c:v>10486.92809809597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I$2:$I$10</c:f>
              <c:numCache>
                <c:formatCode>General</c:formatCode>
                <c:ptCount val="9"/>
                <c:pt idx="4" formatCode="&quot;Rp&quot;#,##0;\-&quot;Rp&quot;#,##0;&quot;Rp&quot;#,##0">
                  <c:v>4224</c:v>
                </c:pt>
                <c:pt idx="6" formatCode="&quot;Rp&quot;#,##0;\-&quot;Rp&quot;#,##0;&quot;Rp&quot;#,##0">
                  <c:v>3936.4490445859874</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J$2:$J$10</c:f>
              <c:numCache>
                <c:formatCode>"Rp"#,##0;\-"Rp"#,##0;"Rp"#,##0</c:formatCode>
                <c:ptCount val="9"/>
                <c:pt idx="0">
                  <c:v>4978.4167211904914</c:v>
                </c:pt>
                <c:pt idx="1">
                  <c:v>4828.154936637781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25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K$2:$K$10</c:f>
              <c:numCache>
                <c:formatCode>General</c:formatCode>
                <c:ptCount val="9"/>
                <c:pt idx="6" formatCode="&quot;Rp&quot;#,##0;\-&quot;Rp&quot;#,##0;&quot;Rp&quot;#,##0">
                  <c:v>6233.2118810714819</c:v>
                </c:pt>
                <c:pt idx="7" formatCode="&quot;Rp&quot;#,##0;\-&quot;Rp&quot;#,##0;&quot;Rp&quot;#,##0">
                  <c:v>6022.6814128703618</c:v>
                </c:pt>
                <c:pt idx="8" formatCode="&quot;Rp&quot;#,##0;\-&quot;Rp&quot;#,##0;&quot;Rp&quot;#,##0">
                  <c:v>10037.38399738650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40ML</c:v>
                </c:pt>
              </c:strCache>
            </c:strRef>
          </c:tx>
          <c:spPr>
            <a:ln w="19050">
              <a:noFill/>
            </a:ln>
          </c:spPr>
          <c:marker>
            <c:symbol val="dash"/>
            <c:size val="20"/>
            <c:spPr>
              <a:solidFill>
                <a:schemeClr val="accent4">
                  <a:lumMod val="40000"/>
                  <a:lumOff val="60000"/>
                </a:schemeClr>
              </a:solidFill>
              <a:ln>
                <a:noFill/>
              </a:ln>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L$2:$L$10</c:f>
              <c:numCache>
                <c:formatCode>General</c:formatCode>
                <c:ptCount val="9"/>
                <c:pt idx="8" formatCode="&quot;Rp&quot;#,##0;\-&quot;Rp&quot;#,##0;&quot;Rp&quot;#,##0">
                  <c:v>10278.81868781226</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M$2:$M$10</c:f>
              <c:numCache>
                <c:formatCode>"Rp"#,##0;\-"Rp"#,##0;"Rp"#,##0</c:formatCode>
                <c:ptCount val="9"/>
                <c:pt idx="0">
                  <c:v>6205.3290831298791</c:v>
                </c:pt>
                <c:pt idx="1">
                  <c:v>6205.7844930203155</c:v>
                </c:pt>
                <c:pt idx="4">
                  <c:v>6319.848799620125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N$2:$N$10</c:f>
              <c:numCache>
                <c:formatCode>General</c:formatCode>
                <c:ptCount val="9"/>
                <c:pt idx="6" formatCode="&quot;Rp&quot;#,##0;\-&quot;Rp&quot;#,##0;&quot;Rp&quot;#,##0">
                  <c:v>18183.588646996981</c:v>
                </c:pt>
                <c:pt idx="7" formatCode="&quot;Rp&quot;#,##0;\-&quot;Rp&quot;#,##0;&quot;Rp&quot;#,##0">
                  <c:v>17582.684413769486</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9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O$2:$O$10</c:f>
              <c:numCache>
                <c:formatCode>General</c:formatCode>
                <c:ptCount val="9"/>
                <c:pt idx="4" formatCode="&quot;Rp&quot;#,##0;\-&quot;Rp&quot;#,##0;&quot;Rp&quot;#,##0">
                  <c:v>17294.696804820476</c:v>
                </c:pt>
                <c:pt idx="5" formatCode="&quot;Rp&quot;#,##0;\-&quot;Rp&quot;#,##0;&quot;Rp&quot;#,##0">
                  <c:v>16830.782852543489</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P$2:$P$10</c:f>
              <c:numCache>
                <c:formatCode>"Rp"#,##0;\-"Rp"#,##0;"Rp"#,##0</c:formatCode>
                <c:ptCount val="9"/>
                <c:pt idx="0">
                  <c:v>18190.200564131246</c:v>
                </c:pt>
                <c:pt idx="1">
                  <c:v>18043.1597676272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1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C$2:$C$10</c:f>
              <c:numCache>
                <c:formatCode>General</c:formatCode>
                <c:ptCount val="9"/>
                <c:pt idx="6" formatCode="&quot;Rp&quot;#,##0;\-&quot;Rp&quot;#,##0;&quot;Rp&quot;#,##0">
                  <c:v>2792.8312052902656</c:v>
                </c:pt>
                <c:pt idx="8" formatCode="&quot;Rp&quot;#,##0;\-&quot;Rp&quot;#,##0;&quot;Rp&quot;#,##0">
                  <c:v>2863.265088906123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5ML</c:v>
                </c:pt>
              </c:strCache>
            </c:strRef>
          </c:tx>
          <c:spPr>
            <a:ln w="19050">
              <a:noFill/>
            </a:ln>
          </c:spPr>
          <c:marker>
            <c:symbol val="dash"/>
            <c:size val="20"/>
            <c:spPr>
              <a:solidFill>
                <a:srgbClr val="FF99FF"/>
              </a:solidFill>
              <a:ln w="9525">
                <a:noFill/>
              </a:ln>
              <a:effectLst/>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D$2:$D$10</c:f>
              <c:numCache>
                <c:formatCode>General</c:formatCode>
                <c:ptCount val="9"/>
                <c:pt idx="4" formatCode="&quot;Rp&quot;#,##0;\-&quot;Rp&quot;#,##0;&quot;Rp&quot;#,##0">
                  <c:v>2914.5186879531279</c:v>
                </c:pt>
                <c:pt idx="5" formatCode="&quot;Rp&quot;#,##0;\-&quot;Rp&quot;#,##0;&quot;Rp&quot;#,##0">
                  <c:v>2882.3390328978212</c:v>
                </c:pt>
                <c:pt idx="6" formatCode="&quot;Rp&quot;#,##0;\-&quot;Rp&quot;#,##0;&quot;Rp&quot;#,##0">
                  <c:v>2917.900972218001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E$2:$E$10</c:f>
              <c:numCache>
                <c:formatCode>"Rp"#,##0;\-"Rp"#,##0;"Rp"#,##0</c:formatCode>
                <c:ptCount val="9"/>
                <c:pt idx="0">
                  <c:v>2950.986704961932</c:v>
                </c:pt>
                <c:pt idx="1">
                  <c:v>2935.0404904988445</c:v>
                </c:pt>
                <c:pt idx="4">
                  <c:v>3498.98163841807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4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F$2:$F$10</c:f>
              <c:numCache>
                <c:formatCode>General</c:formatCode>
                <c:ptCount val="9"/>
                <c:pt idx="2" formatCode="&quot;Rp&quot;#,##0;\-&quot;Rp&quot;#,##0;&quot;Rp&quot;#,##0">
                  <c:v>10676.51897382930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G$2:$G$10</c:f>
              <c:numCache>
                <c:formatCode>General</c:formatCode>
                <c:ptCount val="9"/>
                <c:pt idx="6" formatCode="&quot;Rp&quot;#,##0;\-&quot;Rp&quot;#,##0;&quot;Rp&quot;#,##0">
                  <c:v>4568.5241001671293</c:v>
                </c:pt>
                <c:pt idx="8" formatCode="&quot;Rp&quot;#,##0;\-&quot;Rp&quot;#,##0;&quot;Rp&quot;#,##0">
                  <c:v>5071.0509045291883</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H$2:$H$10</c:f>
              <c:numCache>
                <c:formatCode>General</c:formatCode>
                <c:ptCount val="9"/>
                <c:pt idx="3" formatCode="&quot;Rp&quot;#,##0;\-&quot;Rp&quot;#,##0;&quot;Rp&quot;#,##0">
                  <c:v>10486.92809809597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I$2:$I$10</c:f>
              <c:numCache>
                <c:formatCode>General</c:formatCode>
                <c:ptCount val="9"/>
                <c:pt idx="4" formatCode="&quot;Rp&quot;#,##0;\-&quot;Rp&quot;#,##0;&quot;Rp&quot;#,##0">
                  <c:v>4224</c:v>
                </c:pt>
                <c:pt idx="6" formatCode="&quot;Rp&quot;#,##0;\-&quot;Rp&quot;#,##0;&quot;Rp&quot;#,##0">
                  <c:v>3936.4490445859874</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J$2:$J$10</c:f>
              <c:numCache>
                <c:formatCode>"Rp"#,##0;\-"Rp"#,##0;"Rp"#,##0</c:formatCode>
                <c:ptCount val="9"/>
                <c:pt idx="0">
                  <c:v>4978.4167211904914</c:v>
                </c:pt>
                <c:pt idx="1">
                  <c:v>4828.154936637781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25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K$2:$K$10</c:f>
              <c:numCache>
                <c:formatCode>General</c:formatCode>
                <c:ptCount val="9"/>
                <c:pt idx="6" formatCode="&quot;Rp&quot;#,##0;\-&quot;Rp&quot;#,##0;&quot;Rp&quot;#,##0">
                  <c:v>6233.2118810714819</c:v>
                </c:pt>
                <c:pt idx="7" formatCode="&quot;Rp&quot;#,##0;\-&quot;Rp&quot;#,##0;&quot;Rp&quot;#,##0">
                  <c:v>6022.6814128703618</c:v>
                </c:pt>
                <c:pt idx="8" formatCode="&quot;Rp&quot;#,##0;\-&quot;Rp&quot;#,##0;&quot;Rp&quot;#,##0">
                  <c:v>10037.38399738650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40ML</c:v>
                </c:pt>
              </c:strCache>
            </c:strRef>
          </c:tx>
          <c:spPr>
            <a:ln w="19050">
              <a:noFill/>
            </a:ln>
          </c:spPr>
          <c:marker>
            <c:symbol val="dash"/>
            <c:size val="20"/>
            <c:spPr>
              <a:solidFill>
                <a:schemeClr val="accent4">
                  <a:lumMod val="40000"/>
                  <a:lumOff val="60000"/>
                </a:schemeClr>
              </a:solidFill>
              <a:ln>
                <a:noFill/>
              </a:ln>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L$2:$L$10</c:f>
              <c:numCache>
                <c:formatCode>General</c:formatCode>
                <c:ptCount val="9"/>
                <c:pt idx="8" formatCode="&quot;Rp&quot;#,##0;\-&quot;Rp&quot;#,##0;&quot;Rp&quot;#,##0">
                  <c:v>10278.81868781226</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M$2:$M$10</c:f>
              <c:numCache>
                <c:formatCode>"Rp"#,##0;\-"Rp"#,##0;"Rp"#,##0</c:formatCode>
                <c:ptCount val="9"/>
                <c:pt idx="0">
                  <c:v>6205.3290831298791</c:v>
                </c:pt>
                <c:pt idx="1">
                  <c:v>6205.7844930203155</c:v>
                </c:pt>
                <c:pt idx="4">
                  <c:v>6319.848799620125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N$2:$N$10</c:f>
              <c:numCache>
                <c:formatCode>General</c:formatCode>
                <c:ptCount val="9"/>
                <c:pt idx="6" formatCode="&quot;Rp&quot;#,##0;\-&quot;Rp&quot;#,##0;&quot;Rp&quot;#,##0">
                  <c:v>18183.588646996981</c:v>
                </c:pt>
                <c:pt idx="7" formatCode="&quot;Rp&quot;#,##0;\-&quot;Rp&quot;#,##0;&quot;Rp&quot;#,##0">
                  <c:v>17582.684413769486</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9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O$2:$O$10</c:f>
              <c:numCache>
                <c:formatCode>General</c:formatCode>
                <c:ptCount val="9"/>
                <c:pt idx="4" formatCode="&quot;Rp&quot;#,##0;\-&quot;Rp&quot;#,##0;&quot;Rp&quot;#,##0">
                  <c:v>17294.696804820476</c:v>
                </c:pt>
                <c:pt idx="5" formatCode="&quot;Rp&quot;#,##0;\-&quot;Rp&quot;#,##0;&quot;Rp&quot;#,##0">
                  <c:v>16830.782852543489</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P$2:$P$10</c:f>
              <c:numCache>
                <c:formatCode>"Rp"#,##0;\-"Rp"#,##0;"Rp"#,##0</c:formatCode>
                <c:ptCount val="9"/>
                <c:pt idx="0">
                  <c:v>18190.200564131246</c:v>
                </c:pt>
                <c:pt idx="1">
                  <c:v>18043.1597676272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1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C$2:$C$10</c:f>
              <c:numCache>
                <c:formatCode>General</c:formatCode>
                <c:ptCount val="9"/>
                <c:pt idx="6" formatCode="&quot;Rp&quot;#,##0;\-&quot;Rp&quot;#,##0;&quot;Rp&quot;#,##0">
                  <c:v>2792.8312052902656</c:v>
                </c:pt>
                <c:pt idx="8" formatCode="&quot;Rp&quot;#,##0;\-&quot;Rp&quot;#,##0;&quot;Rp&quot;#,##0">
                  <c:v>2863.265088906123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5ML</c:v>
                </c:pt>
              </c:strCache>
            </c:strRef>
          </c:tx>
          <c:spPr>
            <a:ln w="19050">
              <a:noFill/>
            </a:ln>
          </c:spPr>
          <c:marker>
            <c:symbol val="dash"/>
            <c:size val="20"/>
            <c:spPr>
              <a:solidFill>
                <a:srgbClr val="FF99FF"/>
              </a:solidFill>
              <a:ln w="9525">
                <a:noFill/>
              </a:ln>
              <a:effectLst/>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D$2:$D$10</c:f>
              <c:numCache>
                <c:formatCode>General</c:formatCode>
                <c:ptCount val="9"/>
                <c:pt idx="4" formatCode="&quot;Rp&quot;#,##0;\-&quot;Rp&quot;#,##0;&quot;Rp&quot;#,##0">
                  <c:v>2914.5186879531279</c:v>
                </c:pt>
                <c:pt idx="5" formatCode="&quot;Rp&quot;#,##0;\-&quot;Rp&quot;#,##0;&quot;Rp&quot;#,##0">
                  <c:v>2882.3390328978212</c:v>
                </c:pt>
                <c:pt idx="6" formatCode="&quot;Rp&quot;#,##0;\-&quot;Rp&quot;#,##0;&quot;Rp&quot;#,##0">
                  <c:v>2917.900972218001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E$2:$E$10</c:f>
              <c:numCache>
                <c:formatCode>"Rp"#,##0;\-"Rp"#,##0;"Rp"#,##0</c:formatCode>
                <c:ptCount val="9"/>
                <c:pt idx="0">
                  <c:v>2950.986704961932</c:v>
                </c:pt>
                <c:pt idx="1">
                  <c:v>2935.0404904988445</c:v>
                </c:pt>
                <c:pt idx="4">
                  <c:v>3498.98163841807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4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F$2:$F$10</c:f>
              <c:numCache>
                <c:formatCode>General</c:formatCode>
                <c:ptCount val="9"/>
                <c:pt idx="2" formatCode="&quot;Rp&quot;#,##0;\-&quot;Rp&quot;#,##0;&quot;Rp&quot;#,##0">
                  <c:v>10676.51897382930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G$2:$G$10</c:f>
              <c:numCache>
                <c:formatCode>General</c:formatCode>
                <c:ptCount val="9"/>
                <c:pt idx="6" formatCode="&quot;Rp&quot;#,##0;\-&quot;Rp&quot;#,##0;&quot;Rp&quot;#,##0">
                  <c:v>4568.5241001671293</c:v>
                </c:pt>
                <c:pt idx="8" formatCode="&quot;Rp&quot;#,##0;\-&quot;Rp&quot;#,##0;&quot;Rp&quot;#,##0">
                  <c:v>5071.0509045291883</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H$2:$H$10</c:f>
              <c:numCache>
                <c:formatCode>General</c:formatCode>
                <c:ptCount val="9"/>
                <c:pt idx="3" formatCode="&quot;Rp&quot;#,##0;\-&quot;Rp&quot;#,##0;&quot;Rp&quot;#,##0">
                  <c:v>10486.92809809597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I$2:$I$10</c:f>
              <c:numCache>
                <c:formatCode>General</c:formatCode>
                <c:ptCount val="9"/>
                <c:pt idx="4" formatCode="&quot;Rp&quot;#,##0;\-&quot;Rp&quot;#,##0;&quot;Rp&quot;#,##0">
                  <c:v>4224</c:v>
                </c:pt>
                <c:pt idx="6" formatCode="&quot;Rp&quot;#,##0;\-&quot;Rp&quot;#,##0;&quot;Rp&quot;#,##0">
                  <c:v>3936.4490445859874</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J$2:$J$10</c:f>
              <c:numCache>
                <c:formatCode>"Rp"#,##0;\-"Rp"#,##0;"Rp"#,##0</c:formatCode>
                <c:ptCount val="9"/>
                <c:pt idx="0">
                  <c:v>4978.4167211904914</c:v>
                </c:pt>
                <c:pt idx="1">
                  <c:v>4828.154936637781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25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K$2:$K$10</c:f>
              <c:numCache>
                <c:formatCode>General</c:formatCode>
                <c:ptCount val="9"/>
                <c:pt idx="6" formatCode="&quot;Rp&quot;#,##0;\-&quot;Rp&quot;#,##0;&quot;Rp&quot;#,##0">
                  <c:v>6233.2118810714819</c:v>
                </c:pt>
                <c:pt idx="7" formatCode="&quot;Rp&quot;#,##0;\-&quot;Rp&quot;#,##0;&quot;Rp&quot;#,##0">
                  <c:v>6022.6814128703618</c:v>
                </c:pt>
                <c:pt idx="8" formatCode="&quot;Rp&quot;#,##0;\-&quot;Rp&quot;#,##0;&quot;Rp&quot;#,##0">
                  <c:v>10037.38399738650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40ML</c:v>
                </c:pt>
              </c:strCache>
            </c:strRef>
          </c:tx>
          <c:spPr>
            <a:ln w="19050">
              <a:noFill/>
            </a:ln>
          </c:spPr>
          <c:marker>
            <c:symbol val="dash"/>
            <c:size val="20"/>
            <c:spPr>
              <a:solidFill>
                <a:schemeClr val="accent4">
                  <a:lumMod val="40000"/>
                  <a:lumOff val="60000"/>
                </a:schemeClr>
              </a:solidFill>
              <a:ln>
                <a:noFill/>
              </a:ln>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L$2:$L$10</c:f>
              <c:numCache>
                <c:formatCode>General</c:formatCode>
                <c:ptCount val="9"/>
                <c:pt idx="8" formatCode="&quot;Rp&quot;#,##0;\-&quot;Rp&quot;#,##0;&quot;Rp&quot;#,##0">
                  <c:v>10278.81868781226</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M$2:$M$10</c:f>
              <c:numCache>
                <c:formatCode>"Rp"#,##0;\-"Rp"#,##0;"Rp"#,##0</c:formatCode>
                <c:ptCount val="9"/>
                <c:pt idx="0">
                  <c:v>6205.3290831298791</c:v>
                </c:pt>
                <c:pt idx="1">
                  <c:v>6205.7844930203155</c:v>
                </c:pt>
                <c:pt idx="4">
                  <c:v>6319.848799620125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N$2:$N$10</c:f>
              <c:numCache>
                <c:formatCode>General</c:formatCode>
                <c:ptCount val="9"/>
                <c:pt idx="6" formatCode="&quot;Rp&quot;#,##0;\-&quot;Rp&quot;#,##0;&quot;Rp&quot;#,##0">
                  <c:v>18183.588646996981</c:v>
                </c:pt>
                <c:pt idx="7" formatCode="&quot;Rp&quot;#,##0;\-&quot;Rp&quot;#,##0;&quot;Rp&quot;#,##0">
                  <c:v>17582.684413769486</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9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O$2:$O$10</c:f>
              <c:numCache>
                <c:formatCode>General</c:formatCode>
                <c:ptCount val="9"/>
                <c:pt idx="4" formatCode="&quot;Rp&quot;#,##0;\-&quot;Rp&quot;#,##0;&quot;Rp&quot;#,##0">
                  <c:v>17294.696804820476</c:v>
                </c:pt>
                <c:pt idx="5" formatCode="&quot;Rp&quot;#,##0;\-&quot;Rp&quot;#,##0;&quot;Rp&quot;#,##0">
                  <c:v>16830.782852543489</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P$2:$P$10</c:f>
              <c:numCache>
                <c:formatCode>"Rp"#,##0;\-"Rp"#,##0;"Rp"#,##0</c:formatCode>
                <c:ptCount val="9"/>
                <c:pt idx="0">
                  <c:v>18190.200564131246</c:v>
                </c:pt>
                <c:pt idx="1">
                  <c:v>18043.1597676272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1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C$2:$C$10</c:f>
              <c:numCache>
                <c:formatCode>General</c:formatCode>
                <c:ptCount val="9"/>
                <c:pt idx="6" formatCode="&quot;Rp&quot;#,##0;\-&quot;Rp&quot;#,##0;&quot;Rp&quot;#,##0">
                  <c:v>2792.8312052902656</c:v>
                </c:pt>
                <c:pt idx="8" formatCode="&quot;Rp&quot;#,##0;\-&quot;Rp&quot;#,##0;&quot;Rp&quot;#,##0">
                  <c:v>2863.265088906123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5ML</c:v>
                </c:pt>
              </c:strCache>
            </c:strRef>
          </c:tx>
          <c:spPr>
            <a:ln w="19050">
              <a:noFill/>
            </a:ln>
          </c:spPr>
          <c:marker>
            <c:symbol val="dash"/>
            <c:size val="20"/>
            <c:spPr>
              <a:solidFill>
                <a:srgbClr val="FF99FF"/>
              </a:solidFill>
              <a:ln w="9525">
                <a:noFill/>
              </a:ln>
              <a:effectLst/>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D$2:$D$10</c:f>
              <c:numCache>
                <c:formatCode>General</c:formatCode>
                <c:ptCount val="9"/>
                <c:pt idx="4" formatCode="&quot;Rp&quot;#,##0;\-&quot;Rp&quot;#,##0;&quot;Rp&quot;#,##0">
                  <c:v>2914.5186879531279</c:v>
                </c:pt>
                <c:pt idx="5" formatCode="&quot;Rp&quot;#,##0;\-&quot;Rp&quot;#,##0;&quot;Rp&quot;#,##0">
                  <c:v>2882.3390328978212</c:v>
                </c:pt>
                <c:pt idx="6" formatCode="&quot;Rp&quot;#,##0;\-&quot;Rp&quot;#,##0;&quot;Rp&quot;#,##0">
                  <c:v>2917.900972218001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E$2:$E$10</c:f>
              <c:numCache>
                <c:formatCode>"Rp"#,##0;\-"Rp"#,##0;"Rp"#,##0</c:formatCode>
                <c:ptCount val="9"/>
                <c:pt idx="0">
                  <c:v>2950.986704961932</c:v>
                </c:pt>
                <c:pt idx="1">
                  <c:v>2935.0404904988445</c:v>
                </c:pt>
                <c:pt idx="4">
                  <c:v>3498.98163841807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4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F$2:$F$10</c:f>
              <c:numCache>
                <c:formatCode>General</c:formatCode>
                <c:ptCount val="9"/>
                <c:pt idx="2" formatCode="&quot;Rp&quot;#,##0;\-&quot;Rp&quot;#,##0;&quot;Rp&quot;#,##0">
                  <c:v>10676.51897382930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G$2:$G$10</c:f>
              <c:numCache>
                <c:formatCode>General</c:formatCode>
                <c:ptCount val="9"/>
                <c:pt idx="6" formatCode="&quot;Rp&quot;#,##0;\-&quot;Rp&quot;#,##0;&quot;Rp&quot;#,##0">
                  <c:v>4568.5241001671293</c:v>
                </c:pt>
                <c:pt idx="8" formatCode="&quot;Rp&quot;#,##0;\-&quot;Rp&quot;#,##0;&quot;Rp&quot;#,##0">
                  <c:v>5071.0509045291883</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H$2:$H$10</c:f>
              <c:numCache>
                <c:formatCode>General</c:formatCode>
                <c:ptCount val="9"/>
                <c:pt idx="3" formatCode="&quot;Rp&quot;#,##0;\-&quot;Rp&quot;#,##0;&quot;Rp&quot;#,##0">
                  <c:v>10486.92809809597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I$2:$I$10</c:f>
              <c:numCache>
                <c:formatCode>General</c:formatCode>
                <c:ptCount val="9"/>
                <c:pt idx="4" formatCode="&quot;Rp&quot;#,##0;\-&quot;Rp&quot;#,##0;&quot;Rp&quot;#,##0">
                  <c:v>4224</c:v>
                </c:pt>
                <c:pt idx="6" formatCode="&quot;Rp&quot;#,##0;\-&quot;Rp&quot;#,##0;&quot;Rp&quot;#,##0">
                  <c:v>3936.4490445859874</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J$2:$J$10</c:f>
              <c:numCache>
                <c:formatCode>"Rp"#,##0;\-"Rp"#,##0;"Rp"#,##0</c:formatCode>
                <c:ptCount val="9"/>
                <c:pt idx="0">
                  <c:v>4978.4167211904914</c:v>
                </c:pt>
                <c:pt idx="1">
                  <c:v>4828.154936637781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25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K$2:$K$10</c:f>
              <c:numCache>
                <c:formatCode>General</c:formatCode>
                <c:ptCount val="9"/>
                <c:pt idx="6" formatCode="&quot;Rp&quot;#,##0;\-&quot;Rp&quot;#,##0;&quot;Rp&quot;#,##0">
                  <c:v>6233.2118810714819</c:v>
                </c:pt>
                <c:pt idx="7" formatCode="&quot;Rp&quot;#,##0;\-&quot;Rp&quot;#,##0;&quot;Rp&quot;#,##0">
                  <c:v>6022.6814128703618</c:v>
                </c:pt>
                <c:pt idx="8" formatCode="&quot;Rp&quot;#,##0;\-&quot;Rp&quot;#,##0;&quot;Rp&quot;#,##0">
                  <c:v>10037.38399738650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40ML</c:v>
                </c:pt>
              </c:strCache>
            </c:strRef>
          </c:tx>
          <c:spPr>
            <a:ln w="19050">
              <a:noFill/>
            </a:ln>
          </c:spPr>
          <c:marker>
            <c:symbol val="dash"/>
            <c:size val="20"/>
            <c:spPr>
              <a:solidFill>
                <a:schemeClr val="accent4">
                  <a:lumMod val="40000"/>
                  <a:lumOff val="60000"/>
                </a:schemeClr>
              </a:solidFill>
              <a:ln>
                <a:noFill/>
              </a:ln>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L$2:$L$10</c:f>
              <c:numCache>
                <c:formatCode>General</c:formatCode>
                <c:ptCount val="9"/>
                <c:pt idx="8" formatCode="&quot;Rp&quot;#,##0;\-&quot;Rp&quot;#,##0;&quot;Rp&quot;#,##0">
                  <c:v>10278.81868781226</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M$2:$M$10</c:f>
              <c:numCache>
                <c:formatCode>"Rp"#,##0;\-"Rp"#,##0;"Rp"#,##0</c:formatCode>
                <c:ptCount val="9"/>
                <c:pt idx="0">
                  <c:v>6205.3290831298791</c:v>
                </c:pt>
                <c:pt idx="1">
                  <c:v>6205.7844930203155</c:v>
                </c:pt>
                <c:pt idx="4">
                  <c:v>6319.848799620125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N$2:$N$10</c:f>
              <c:numCache>
                <c:formatCode>General</c:formatCode>
                <c:ptCount val="9"/>
                <c:pt idx="6" formatCode="&quot;Rp&quot;#,##0;\-&quot;Rp&quot;#,##0;&quot;Rp&quot;#,##0">
                  <c:v>18183.588646996981</c:v>
                </c:pt>
                <c:pt idx="7" formatCode="&quot;Rp&quot;#,##0;\-&quot;Rp&quot;#,##0;&quot;Rp&quot;#,##0">
                  <c:v>17582.684413769486</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9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O$2:$O$10</c:f>
              <c:numCache>
                <c:formatCode>General</c:formatCode>
                <c:ptCount val="9"/>
                <c:pt idx="4" formatCode="&quot;Rp&quot;#,##0;\-&quot;Rp&quot;#,##0;&quot;Rp&quot;#,##0">
                  <c:v>17294.696804820476</c:v>
                </c:pt>
                <c:pt idx="5" formatCode="&quot;Rp&quot;#,##0;\-&quot;Rp&quot;#,##0;&quot;Rp&quot;#,##0">
                  <c:v>16830.782852543489</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P$2:$P$10</c:f>
              <c:numCache>
                <c:formatCode>"Rp"#,##0;\-"Rp"#,##0;"Rp"#,##0</c:formatCode>
                <c:ptCount val="9"/>
                <c:pt idx="0">
                  <c:v>18190.200564131246</c:v>
                </c:pt>
                <c:pt idx="1">
                  <c:v>18043.1597676272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1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C$2:$C$10</c:f>
              <c:numCache>
                <c:formatCode>General</c:formatCode>
                <c:ptCount val="9"/>
                <c:pt idx="6" formatCode="&quot;Rp&quot;#,##0;\-&quot;Rp&quot;#,##0;&quot;Rp&quot;#,##0">
                  <c:v>2792.8312052902656</c:v>
                </c:pt>
                <c:pt idx="8" formatCode="&quot;Rp&quot;#,##0;\-&quot;Rp&quot;#,##0;&quot;Rp&quot;#,##0">
                  <c:v>2863.265088906123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5ML</c:v>
                </c:pt>
              </c:strCache>
            </c:strRef>
          </c:tx>
          <c:spPr>
            <a:ln w="19050">
              <a:noFill/>
            </a:ln>
          </c:spPr>
          <c:marker>
            <c:symbol val="dash"/>
            <c:size val="20"/>
            <c:spPr>
              <a:solidFill>
                <a:srgbClr val="FF99FF"/>
              </a:solidFill>
              <a:ln w="9525">
                <a:noFill/>
              </a:ln>
              <a:effectLst/>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D$2:$D$10</c:f>
              <c:numCache>
                <c:formatCode>General</c:formatCode>
                <c:ptCount val="9"/>
                <c:pt idx="4" formatCode="&quot;Rp&quot;#,##0;\-&quot;Rp&quot;#,##0;&quot;Rp&quot;#,##0">
                  <c:v>2914.5186879531279</c:v>
                </c:pt>
                <c:pt idx="5" formatCode="&quot;Rp&quot;#,##0;\-&quot;Rp&quot;#,##0;&quot;Rp&quot;#,##0">
                  <c:v>2882.3390328978212</c:v>
                </c:pt>
                <c:pt idx="6" formatCode="&quot;Rp&quot;#,##0;\-&quot;Rp&quot;#,##0;&quot;Rp&quot;#,##0">
                  <c:v>2917.900972218001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E$2:$E$10</c:f>
              <c:numCache>
                <c:formatCode>"Rp"#,##0;\-"Rp"#,##0;"Rp"#,##0</c:formatCode>
                <c:ptCount val="9"/>
                <c:pt idx="0">
                  <c:v>2950.986704961932</c:v>
                </c:pt>
                <c:pt idx="1">
                  <c:v>2935.0404904988445</c:v>
                </c:pt>
                <c:pt idx="4">
                  <c:v>3498.98163841807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4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F$2:$F$10</c:f>
              <c:numCache>
                <c:formatCode>General</c:formatCode>
                <c:ptCount val="9"/>
                <c:pt idx="2" formatCode="&quot;Rp&quot;#,##0;\-&quot;Rp&quot;#,##0;&quot;Rp&quot;#,##0">
                  <c:v>10676.51897382930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G$2:$G$10</c:f>
              <c:numCache>
                <c:formatCode>General</c:formatCode>
                <c:ptCount val="9"/>
                <c:pt idx="6" formatCode="&quot;Rp&quot;#,##0;\-&quot;Rp&quot;#,##0;&quot;Rp&quot;#,##0">
                  <c:v>4568.5241001671293</c:v>
                </c:pt>
                <c:pt idx="8" formatCode="&quot;Rp&quot;#,##0;\-&quot;Rp&quot;#,##0;&quot;Rp&quot;#,##0">
                  <c:v>5071.0509045291883</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H$2:$H$10</c:f>
              <c:numCache>
                <c:formatCode>General</c:formatCode>
                <c:ptCount val="9"/>
                <c:pt idx="3" formatCode="&quot;Rp&quot;#,##0;\-&quot;Rp&quot;#,##0;&quot;Rp&quot;#,##0">
                  <c:v>10486.92809809597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I$2:$I$10</c:f>
              <c:numCache>
                <c:formatCode>General</c:formatCode>
                <c:ptCount val="9"/>
                <c:pt idx="4" formatCode="&quot;Rp&quot;#,##0;\-&quot;Rp&quot;#,##0;&quot;Rp&quot;#,##0">
                  <c:v>4224</c:v>
                </c:pt>
                <c:pt idx="6" formatCode="&quot;Rp&quot;#,##0;\-&quot;Rp&quot;#,##0;&quot;Rp&quot;#,##0">
                  <c:v>3936.4490445859874</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J$2:$J$10</c:f>
              <c:numCache>
                <c:formatCode>"Rp"#,##0;\-"Rp"#,##0;"Rp"#,##0</c:formatCode>
                <c:ptCount val="9"/>
                <c:pt idx="0">
                  <c:v>4978.4167211904914</c:v>
                </c:pt>
                <c:pt idx="1">
                  <c:v>4828.154936637781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25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K$2:$K$10</c:f>
              <c:numCache>
                <c:formatCode>General</c:formatCode>
                <c:ptCount val="9"/>
                <c:pt idx="6" formatCode="&quot;Rp&quot;#,##0;\-&quot;Rp&quot;#,##0;&quot;Rp&quot;#,##0">
                  <c:v>6233.2118810714819</c:v>
                </c:pt>
                <c:pt idx="7" formatCode="&quot;Rp&quot;#,##0;\-&quot;Rp&quot;#,##0;&quot;Rp&quot;#,##0">
                  <c:v>6022.6814128703618</c:v>
                </c:pt>
                <c:pt idx="8" formatCode="&quot;Rp&quot;#,##0;\-&quot;Rp&quot;#,##0;&quot;Rp&quot;#,##0">
                  <c:v>10037.38399738650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40ML</c:v>
                </c:pt>
              </c:strCache>
            </c:strRef>
          </c:tx>
          <c:spPr>
            <a:ln w="19050">
              <a:noFill/>
            </a:ln>
          </c:spPr>
          <c:marker>
            <c:symbol val="dash"/>
            <c:size val="20"/>
            <c:spPr>
              <a:solidFill>
                <a:schemeClr val="accent4">
                  <a:lumMod val="40000"/>
                  <a:lumOff val="60000"/>
                </a:schemeClr>
              </a:solidFill>
              <a:ln>
                <a:noFill/>
              </a:ln>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L$2:$L$10</c:f>
              <c:numCache>
                <c:formatCode>General</c:formatCode>
                <c:ptCount val="9"/>
                <c:pt idx="8" formatCode="&quot;Rp&quot;#,##0;\-&quot;Rp&quot;#,##0;&quot;Rp&quot;#,##0">
                  <c:v>10278.81868781226</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M$2:$M$10</c:f>
              <c:numCache>
                <c:formatCode>"Rp"#,##0;\-"Rp"#,##0;"Rp"#,##0</c:formatCode>
                <c:ptCount val="9"/>
                <c:pt idx="0">
                  <c:v>6205.3290831298791</c:v>
                </c:pt>
                <c:pt idx="1">
                  <c:v>6205.7844930203155</c:v>
                </c:pt>
                <c:pt idx="4">
                  <c:v>6319.848799620125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N$2:$N$10</c:f>
              <c:numCache>
                <c:formatCode>General</c:formatCode>
                <c:ptCount val="9"/>
                <c:pt idx="6" formatCode="&quot;Rp&quot;#,##0;\-&quot;Rp&quot;#,##0;&quot;Rp&quot;#,##0">
                  <c:v>18183.588646996981</c:v>
                </c:pt>
                <c:pt idx="7" formatCode="&quot;Rp&quot;#,##0;\-&quot;Rp&quot;#,##0;&quot;Rp&quot;#,##0">
                  <c:v>17582.684413769486</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9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O$2:$O$10</c:f>
              <c:numCache>
                <c:formatCode>General</c:formatCode>
                <c:ptCount val="9"/>
                <c:pt idx="4" formatCode="&quot;Rp&quot;#,##0;\-&quot;Rp&quot;#,##0;&quot;Rp&quot;#,##0">
                  <c:v>17294.696804820476</c:v>
                </c:pt>
                <c:pt idx="5" formatCode="&quot;Rp&quot;#,##0;\-&quot;Rp&quot;#,##0;&quot;Rp&quot;#,##0">
                  <c:v>16830.782852543489</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P$2:$P$10</c:f>
              <c:numCache>
                <c:formatCode>"Rp"#,##0;\-"Rp"#,##0;"Rp"#,##0</c:formatCode>
                <c:ptCount val="9"/>
                <c:pt idx="0">
                  <c:v>18190.200564131246</c:v>
                </c:pt>
                <c:pt idx="1">
                  <c:v>18043.1597676272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1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C$2:$C$10</c:f>
              <c:numCache>
                <c:formatCode>General</c:formatCode>
                <c:ptCount val="9"/>
                <c:pt idx="6" formatCode="&quot;Rp&quot;#,##0;\-&quot;Rp&quot;#,##0;&quot;Rp&quot;#,##0">
                  <c:v>2792.8312052902656</c:v>
                </c:pt>
                <c:pt idx="8" formatCode="&quot;Rp&quot;#,##0;\-&quot;Rp&quot;#,##0;&quot;Rp&quot;#,##0">
                  <c:v>2863.265088906123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5ML</c:v>
                </c:pt>
              </c:strCache>
            </c:strRef>
          </c:tx>
          <c:spPr>
            <a:ln w="19050">
              <a:noFill/>
            </a:ln>
          </c:spPr>
          <c:marker>
            <c:symbol val="dash"/>
            <c:size val="20"/>
            <c:spPr>
              <a:solidFill>
                <a:srgbClr val="FF99FF"/>
              </a:solidFill>
              <a:ln w="9525">
                <a:noFill/>
              </a:ln>
              <a:effectLst/>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D$2:$D$10</c:f>
              <c:numCache>
                <c:formatCode>General</c:formatCode>
                <c:ptCount val="9"/>
                <c:pt idx="4" formatCode="&quot;Rp&quot;#,##0;\-&quot;Rp&quot;#,##0;&quot;Rp&quot;#,##0">
                  <c:v>2914.5186879531279</c:v>
                </c:pt>
                <c:pt idx="5" formatCode="&quot;Rp&quot;#,##0;\-&quot;Rp&quot;#,##0;&quot;Rp&quot;#,##0">
                  <c:v>2882.3390328978212</c:v>
                </c:pt>
                <c:pt idx="6" formatCode="&quot;Rp&quot;#,##0;\-&quot;Rp&quot;#,##0;&quot;Rp&quot;#,##0">
                  <c:v>2917.900972218001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E$2:$E$10</c:f>
              <c:numCache>
                <c:formatCode>"Rp"#,##0;\-"Rp"#,##0;"Rp"#,##0</c:formatCode>
                <c:ptCount val="9"/>
                <c:pt idx="0">
                  <c:v>2950.986704961932</c:v>
                </c:pt>
                <c:pt idx="1">
                  <c:v>2935.0404904988445</c:v>
                </c:pt>
                <c:pt idx="4">
                  <c:v>3498.98163841807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4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F$2:$F$10</c:f>
              <c:numCache>
                <c:formatCode>General</c:formatCode>
                <c:ptCount val="9"/>
                <c:pt idx="2" formatCode="&quot;Rp&quot;#,##0;\-&quot;Rp&quot;#,##0;&quot;Rp&quot;#,##0">
                  <c:v>10676.51897382930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G$2:$G$10</c:f>
              <c:numCache>
                <c:formatCode>General</c:formatCode>
                <c:ptCount val="9"/>
                <c:pt idx="6" formatCode="&quot;Rp&quot;#,##0;\-&quot;Rp&quot;#,##0;&quot;Rp&quot;#,##0">
                  <c:v>4568.5241001671293</c:v>
                </c:pt>
                <c:pt idx="8" formatCode="&quot;Rp&quot;#,##0;\-&quot;Rp&quot;#,##0;&quot;Rp&quot;#,##0">
                  <c:v>5071.0509045291883</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H$2:$H$10</c:f>
              <c:numCache>
                <c:formatCode>General</c:formatCode>
                <c:ptCount val="9"/>
                <c:pt idx="3" formatCode="&quot;Rp&quot;#,##0;\-&quot;Rp&quot;#,##0;&quot;Rp&quot;#,##0">
                  <c:v>10486.92809809597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I$2:$I$10</c:f>
              <c:numCache>
                <c:formatCode>General</c:formatCode>
                <c:ptCount val="9"/>
                <c:pt idx="4" formatCode="&quot;Rp&quot;#,##0;\-&quot;Rp&quot;#,##0;&quot;Rp&quot;#,##0">
                  <c:v>4224</c:v>
                </c:pt>
                <c:pt idx="6" formatCode="&quot;Rp&quot;#,##0;\-&quot;Rp&quot;#,##0;&quot;Rp&quot;#,##0">
                  <c:v>3936.4490445859874</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J$2:$J$10</c:f>
              <c:numCache>
                <c:formatCode>"Rp"#,##0;\-"Rp"#,##0;"Rp"#,##0</c:formatCode>
                <c:ptCount val="9"/>
                <c:pt idx="0">
                  <c:v>4978.4167211904914</c:v>
                </c:pt>
                <c:pt idx="1">
                  <c:v>4828.154936637781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25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K$2:$K$10</c:f>
              <c:numCache>
                <c:formatCode>General</c:formatCode>
                <c:ptCount val="9"/>
                <c:pt idx="6" formatCode="&quot;Rp&quot;#,##0;\-&quot;Rp&quot;#,##0;&quot;Rp&quot;#,##0">
                  <c:v>6233.2118810714819</c:v>
                </c:pt>
                <c:pt idx="7" formatCode="&quot;Rp&quot;#,##0;\-&quot;Rp&quot;#,##0;&quot;Rp&quot;#,##0">
                  <c:v>6022.6814128703618</c:v>
                </c:pt>
                <c:pt idx="8" formatCode="&quot;Rp&quot;#,##0;\-&quot;Rp&quot;#,##0;&quot;Rp&quot;#,##0">
                  <c:v>10037.38399738650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40ML</c:v>
                </c:pt>
              </c:strCache>
            </c:strRef>
          </c:tx>
          <c:spPr>
            <a:ln w="19050">
              <a:noFill/>
            </a:ln>
          </c:spPr>
          <c:marker>
            <c:symbol val="dash"/>
            <c:size val="20"/>
            <c:spPr>
              <a:solidFill>
                <a:schemeClr val="accent4">
                  <a:lumMod val="40000"/>
                  <a:lumOff val="60000"/>
                </a:schemeClr>
              </a:solidFill>
              <a:ln>
                <a:noFill/>
              </a:ln>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L$2:$L$10</c:f>
              <c:numCache>
                <c:formatCode>General</c:formatCode>
                <c:ptCount val="9"/>
                <c:pt idx="8" formatCode="&quot;Rp&quot;#,##0;\-&quot;Rp&quot;#,##0;&quot;Rp&quot;#,##0">
                  <c:v>10278.81868781226</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M$2:$M$10</c:f>
              <c:numCache>
                <c:formatCode>"Rp"#,##0;\-"Rp"#,##0;"Rp"#,##0</c:formatCode>
                <c:ptCount val="9"/>
                <c:pt idx="0">
                  <c:v>6205.3290831298791</c:v>
                </c:pt>
                <c:pt idx="1">
                  <c:v>6205.7844930203155</c:v>
                </c:pt>
                <c:pt idx="4">
                  <c:v>6319.848799620125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N$2:$N$10</c:f>
              <c:numCache>
                <c:formatCode>General</c:formatCode>
                <c:ptCount val="9"/>
                <c:pt idx="6" formatCode="&quot;Rp&quot;#,##0;\-&quot;Rp&quot;#,##0;&quot;Rp&quot;#,##0">
                  <c:v>18183.588646996981</c:v>
                </c:pt>
                <c:pt idx="7" formatCode="&quot;Rp&quot;#,##0;\-&quot;Rp&quot;#,##0;&quot;Rp&quot;#,##0">
                  <c:v>17582.684413769486</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9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O$2:$O$10</c:f>
              <c:numCache>
                <c:formatCode>General</c:formatCode>
                <c:ptCount val="9"/>
                <c:pt idx="4" formatCode="&quot;Rp&quot;#,##0;\-&quot;Rp&quot;#,##0;&quot;Rp&quot;#,##0">
                  <c:v>17294.696804820476</c:v>
                </c:pt>
                <c:pt idx="5" formatCode="&quot;Rp&quot;#,##0;\-&quot;Rp&quot;#,##0;&quot;Rp&quot;#,##0">
                  <c:v>16830.782852543489</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P$2:$P$10</c:f>
              <c:numCache>
                <c:formatCode>"Rp"#,##0;\-"Rp"#,##0;"Rp"#,##0</c:formatCode>
                <c:ptCount val="9"/>
                <c:pt idx="0">
                  <c:v>18190.200564131246</c:v>
                </c:pt>
                <c:pt idx="1">
                  <c:v>18043.1597676272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677628-4D18-4EB1-9F49-E026D302D65F}" type="datetimeFigureOut">
              <a:rPr lang="en-CH" smtClean="0"/>
              <a:t>07/31/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DF813D-969A-4697-83EA-7C0DCB6CA98B}" type="slidenum">
              <a:rPr lang="en-CH" smtClean="0"/>
              <a:t>‹#›</a:t>
            </a:fld>
            <a:endParaRPr lang="en-CH"/>
          </a:p>
        </p:txBody>
      </p:sp>
    </p:spTree>
    <p:extLst>
      <p:ext uri="{BB962C8B-B14F-4D97-AF65-F5344CB8AC3E}">
        <p14:creationId xmlns:p14="http://schemas.microsoft.com/office/powerpoint/2010/main" val="315013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85676037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3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3236679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3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6573493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7/3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514141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7/3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82034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3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14930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3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553451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3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22352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3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63496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7/31/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787408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31/07/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842254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7/31/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363594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31/07/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5250249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31/07/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346330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31/07/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25422615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96002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7/31/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1739415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7/31/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389197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3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9907177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3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5677263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3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4640151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7/3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6289837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7/31/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8339735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3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1422533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7/31/2025</a:t>
            </a:fld>
            <a:endParaRPr lang="en-US"/>
          </a:p>
        </p:txBody>
      </p:sp>
    </p:spTree>
    <p:extLst>
      <p:ext uri="{BB962C8B-B14F-4D97-AF65-F5344CB8AC3E}">
        <p14:creationId xmlns:p14="http://schemas.microsoft.com/office/powerpoint/2010/main" val="691273762"/>
      </p:ext>
    </p:extLst>
  </p:cSld>
  <p:clrMap bg1="lt1" tx1="dk1" bg2="lt2" tx2="dk2" accent1="accent1" accent2="accent2" accent3="accent3" accent4="accent4" accent5="accent5" accent6="accent6" hlink="hlink" folHlink="folHlink"/>
  <p:sldLayoutIdLst>
    <p:sldLayoutId id="2147483855"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914" r:id="rId23"/>
    <p:sldLayoutId id="21474839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xml"/><Relationship Id="rId5" Type="http://schemas.openxmlformats.org/officeDocument/2006/relationships/chart" Target="../charts/chart1.xml"/><Relationship Id="rId4" Type="http://schemas.openxmlformats.org/officeDocument/2006/relationships/image" Target="../media/image28.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7.xml"/><Relationship Id="rId5" Type="http://schemas.openxmlformats.org/officeDocument/2006/relationships/chart" Target="../charts/chart10.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8.xml"/><Relationship Id="rId5" Type="http://schemas.openxmlformats.org/officeDocument/2006/relationships/chart" Target="../charts/chart11.xml"/><Relationship Id="rId4" Type="http://schemas.openxmlformats.org/officeDocument/2006/relationships/image" Target="../media/image28.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9.xml"/><Relationship Id="rId5" Type="http://schemas.openxmlformats.org/officeDocument/2006/relationships/chart" Target="../charts/chart12.xml"/><Relationship Id="rId4" Type="http://schemas.openxmlformats.org/officeDocument/2006/relationships/image" Target="../media/image28.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0.xml"/><Relationship Id="rId5" Type="http://schemas.openxmlformats.org/officeDocument/2006/relationships/chart" Target="../charts/chart13.xml"/><Relationship Id="rId4" Type="http://schemas.openxmlformats.org/officeDocument/2006/relationships/image" Target="../media/image28.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1.xml"/><Relationship Id="rId5" Type="http://schemas.openxmlformats.org/officeDocument/2006/relationships/chart" Target="../charts/chart14.xml"/><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2.xml"/><Relationship Id="rId5" Type="http://schemas.openxmlformats.org/officeDocument/2006/relationships/chart" Target="../charts/chart15.xml"/><Relationship Id="rId4" Type="http://schemas.openxmlformats.org/officeDocument/2006/relationships/image" Target="../media/image28.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3.xml"/><Relationship Id="rId5" Type="http://schemas.openxmlformats.org/officeDocument/2006/relationships/chart" Target="../charts/chart16.xml"/><Relationship Id="rId4" Type="http://schemas.openxmlformats.org/officeDocument/2006/relationships/image" Target="../media/image28.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4.xml"/><Relationship Id="rId5" Type="http://schemas.openxmlformats.org/officeDocument/2006/relationships/chart" Target="../charts/chart17.xml"/><Relationship Id="rId4" Type="http://schemas.openxmlformats.org/officeDocument/2006/relationships/image" Target="../media/image28.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5.xml"/><Relationship Id="rId5" Type="http://schemas.openxmlformats.org/officeDocument/2006/relationships/chart" Target="../charts/chart18.xml"/><Relationship Id="rId4" Type="http://schemas.openxmlformats.org/officeDocument/2006/relationships/image" Target="../media/image28.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6.xml"/><Relationship Id="rId5" Type="http://schemas.openxmlformats.org/officeDocument/2006/relationships/chart" Target="../charts/chart19.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xml"/><Relationship Id="rId5" Type="http://schemas.openxmlformats.org/officeDocument/2006/relationships/chart" Target="../charts/chart2.xml"/><Relationship Id="rId4" Type="http://schemas.openxmlformats.org/officeDocument/2006/relationships/image" Target="../media/image28.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7.xml"/><Relationship Id="rId5" Type="http://schemas.openxmlformats.org/officeDocument/2006/relationships/chart" Target="../charts/chart20.xml"/><Relationship Id="rId4" Type="http://schemas.openxmlformats.org/officeDocument/2006/relationships/image" Target="../media/image28.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8.xml"/><Relationship Id="rId5" Type="http://schemas.openxmlformats.org/officeDocument/2006/relationships/chart" Target="../charts/chart21.xml"/><Relationship Id="rId4" Type="http://schemas.openxmlformats.org/officeDocument/2006/relationships/image" Target="../media/image28.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9.xml"/><Relationship Id="rId5" Type="http://schemas.openxmlformats.org/officeDocument/2006/relationships/chart" Target="../charts/chart22.xml"/><Relationship Id="rId4" Type="http://schemas.openxmlformats.org/officeDocument/2006/relationships/image" Target="../media/image28.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50.xml"/><Relationship Id="rId5" Type="http://schemas.openxmlformats.org/officeDocument/2006/relationships/chart" Target="../charts/chart23.xml"/><Relationship Id="rId4" Type="http://schemas.openxmlformats.org/officeDocument/2006/relationships/image" Target="../media/image28.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51.xml"/><Relationship Id="rId5" Type="http://schemas.openxmlformats.org/officeDocument/2006/relationships/chart" Target="../charts/chart24.xml"/><Relationship Id="rId4" Type="http://schemas.openxmlformats.org/officeDocument/2006/relationships/image" Target="../media/image28.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52.xml"/><Relationship Id="rId5" Type="http://schemas.openxmlformats.org/officeDocument/2006/relationships/chart" Target="../charts/chart25.xml"/><Relationship Id="rId4" Type="http://schemas.openxmlformats.org/officeDocument/2006/relationships/image" Target="../media/image28.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53.xml"/><Relationship Id="rId5" Type="http://schemas.openxmlformats.org/officeDocument/2006/relationships/chart" Target="../charts/chart26.xml"/><Relationship Id="rId4" Type="http://schemas.openxmlformats.org/officeDocument/2006/relationships/image" Target="../media/image28.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54.xml"/><Relationship Id="rId5" Type="http://schemas.openxmlformats.org/officeDocument/2006/relationships/chart" Target="../charts/chart27.xml"/><Relationship Id="rId4" Type="http://schemas.openxmlformats.org/officeDocument/2006/relationships/image" Target="../media/image28.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55.xml"/><Relationship Id="rId5" Type="http://schemas.openxmlformats.org/officeDocument/2006/relationships/chart" Target="../charts/chart28.xml"/><Relationship Id="rId4" Type="http://schemas.openxmlformats.org/officeDocument/2006/relationships/image" Target="../media/image28.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56.xml"/><Relationship Id="rId5" Type="http://schemas.openxmlformats.org/officeDocument/2006/relationships/chart" Target="../charts/chart29.xml"/><Relationship Id="rId4" Type="http://schemas.openxmlformats.org/officeDocument/2006/relationships/image" Target="../media/image28.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xml"/><Relationship Id="rId5" Type="http://schemas.openxmlformats.org/officeDocument/2006/relationships/chart" Target="../charts/chart3.xml"/><Relationship Id="rId4" Type="http://schemas.openxmlformats.org/officeDocument/2006/relationships/image" Target="../media/image28.emf"/></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57.xml"/><Relationship Id="rId5" Type="http://schemas.openxmlformats.org/officeDocument/2006/relationships/chart" Target="../charts/chart30.xml"/><Relationship Id="rId4" Type="http://schemas.openxmlformats.org/officeDocument/2006/relationships/image" Target="../media/image28.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58.xml"/><Relationship Id="rId5" Type="http://schemas.openxmlformats.org/officeDocument/2006/relationships/chart" Target="../charts/chart31.xml"/><Relationship Id="rId4" Type="http://schemas.openxmlformats.org/officeDocument/2006/relationships/image" Target="../media/image28.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59.xml"/><Relationship Id="rId5" Type="http://schemas.openxmlformats.org/officeDocument/2006/relationships/chart" Target="../charts/chart32.xml"/><Relationship Id="rId4" Type="http://schemas.openxmlformats.org/officeDocument/2006/relationships/image" Target="../media/image28.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60.xml"/><Relationship Id="rId5" Type="http://schemas.openxmlformats.org/officeDocument/2006/relationships/chart" Target="../charts/chart33.xml"/><Relationship Id="rId4" Type="http://schemas.openxmlformats.org/officeDocument/2006/relationships/image" Target="../media/image28.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61.xml"/><Relationship Id="rId5" Type="http://schemas.openxmlformats.org/officeDocument/2006/relationships/chart" Target="../charts/chart34.xml"/><Relationship Id="rId4" Type="http://schemas.openxmlformats.org/officeDocument/2006/relationships/image" Target="../media/image28.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62.xml"/><Relationship Id="rId5" Type="http://schemas.openxmlformats.org/officeDocument/2006/relationships/chart" Target="../charts/chart35.xml"/><Relationship Id="rId4" Type="http://schemas.openxmlformats.org/officeDocument/2006/relationships/image" Target="../media/image28.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63.xml"/><Relationship Id="rId5" Type="http://schemas.openxmlformats.org/officeDocument/2006/relationships/chart" Target="../charts/chart36.xml"/><Relationship Id="rId4" Type="http://schemas.openxmlformats.org/officeDocument/2006/relationships/image" Target="../media/image28.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64.xml"/><Relationship Id="rId5" Type="http://schemas.openxmlformats.org/officeDocument/2006/relationships/chart" Target="../charts/chart37.xml"/><Relationship Id="rId4" Type="http://schemas.openxmlformats.org/officeDocument/2006/relationships/image" Target="../media/image28.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65.xml"/><Relationship Id="rId5" Type="http://schemas.openxmlformats.org/officeDocument/2006/relationships/chart" Target="../charts/chart38.xml"/><Relationship Id="rId4" Type="http://schemas.openxmlformats.org/officeDocument/2006/relationships/image" Target="../media/image28.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66.xml"/><Relationship Id="rId5" Type="http://schemas.openxmlformats.org/officeDocument/2006/relationships/chart" Target="../charts/chart39.xml"/><Relationship Id="rId4" Type="http://schemas.openxmlformats.org/officeDocument/2006/relationships/image" Target="../media/image28.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xml"/><Relationship Id="rId5" Type="http://schemas.openxmlformats.org/officeDocument/2006/relationships/chart" Target="../charts/chart4.xml"/><Relationship Id="rId4" Type="http://schemas.openxmlformats.org/officeDocument/2006/relationships/image" Target="../media/image28.emf"/></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67.xml"/><Relationship Id="rId5" Type="http://schemas.openxmlformats.org/officeDocument/2006/relationships/chart" Target="../charts/chart40.xml"/><Relationship Id="rId4" Type="http://schemas.openxmlformats.org/officeDocument/2006/relationships/image" Target="../media/image28.e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68.xml"/><Relationship Id="rId5" Type="http://schemas.openxmlformats.org/officeDocument/2006/relationships/chart" Target="../charts/chart41.xml"/><Relationship Id="rId4" Type="http://schemas.openxmlformats.org/officeDocument/2006/relationships/image" Target="../media/image28.emf"/></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69.xml"/><Relationship Id="rId5" Type="http://schemas.openxmlformats.org/officeDocument/2006/relationships/chart" Target="../charts/chart42.xml"/><Relationship Id="rId4" Type="http://schemas.openxmlformats.org/officeDocument/2006/relationships/image" Target="../media/image28.emf"/></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70.xml"/><Relationship Id="rId5" Type="http://schemas.openxmlformats.org/officeDocument/2006/relationships/chart" Target="../charts/chart43.xml"/><Relationship Id="rId4" Type="http://schemas.openxmlformats.org/officeDocument/2006/relationships/image" Target="../media/image28.emf"/></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71.xml"/><Relationship Id="rId5" Type="http://schemas.openxmlformats.org/officeDocument/2006/relationships/chart" Target="../charts/chart44.xml"/><Relationship Id="rId4" Type="http://schemas.openxmlformats.org/officeDocument/2006/relationships/image" Target="../media/image28.emf"/></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72.xml"/><Relationship Id="rId5" Type="http://schemas.openxmlformats.org/officeDocument/2006/relationships/chart" Target="../charts/chart45.xml"/><Relationship Id="rId4" Type="http://schemas.openxmlformats.org/officeDocument/2006/relationships/image" Target="../media/image28.emf"/></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73.xml"/><Relationship Id="rId5" Type="http://schemas.openxmlformats.org/officeDocument/2006/relationships/chart" Target="../charts/chart46.xml"/><Relationship Id="rId4" Type="http://schemas.openxmlformats.org/officeDocument/2006/relationships/image" Target="../media/image28.emf"/></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74.xml"/><Relationship Id="rId5" Type="http://schemas.openxmlformats.org/officeDocument/2006/relationships/chart" Target="../charts/chart47.xml"/><Relationship Id="rId4" Type="http://schemas.openxmlformats.org/officeDocument/2006/relationships/image" Target="../media/image28.emf"/></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75.xml"/><Relationship Id="rId5" Type="http://schemas.openxmlformats.org/officeDocument/2006/relationships/chart" Target="../charts/chart48.xml"/><Relationship Id="rId4" Type="http://schemas.openxmlformats.org/officeDocument/2006/relationships/image" Target="../media/image28.emf"/></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76.xml"/><Relationship Id="rId5" Type="http://schemas.openxmlformats.org/officeDocument/2006/relationships/chart" Target="../charts/chart49.xml"/><Relationship Id="rId4" Type="http://schemas.openxmlformats.org/officeDocument/2006/relationships/image" Target="../media/image28.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xml"/><Relationship Id="rId5" Type="http://schemas.openxmlformats.org/officeDocument/2006/relationships/chart" Target="../charts/chart5.xml"/><Relationship Id="rId4" Type="http://schemas.openxmlformats.org/officeDocument/2006/relationships/image" Target="../media/image28.emf"/></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77.xml"/><Relationship Id="rId5" Type="http://schemas.openxmlformats.org/officeDocument/2006/relationships/chart" Target="../charts/chart50.xml"/><Relationship Id="rId4" Type="http://schemas.openxmlformats.org/officeDocument/2006/relationships/image" Target="../media/image28.emf"/></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78.xml"/><Relationship Id="rId5" Type="http://schemas.openxmlformats.org/officeDocument/2006/relationships/chart" Target="../charts/chart51.xml"/><Relationship Id="rId4" Type="http://schemas.openxmlformats.org/officeDocument/2006/relationships/image" Target="../media/image28.emf"/></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79.xml"/><Relationship Id="rId5" Type="http://schemas.openxmlformats.org/officeDocument/2006/relationships/chart" Target="../charts/chart52.xml"/><Relationship Id="rId4" Type="http://schemas.openxmlformats.org/officeDocument/2006/relationships/image" Target="../media/image28.emf"/></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80.xml"/><Relationship Id="rId5" Type="http://schemas.openxmlformats.org/officeDocument/2006/relationships/chart" Target="../charts/chart53.xml"/><Relationship Id="rId4" Type="http://schemas.openxmlformats.org/officeDocument/2006/relationships/image" Target="../media/image28.emf"/></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81.xml"/><Relationship Id="rId5" Type="http://schemas.openxmlformats.org/officeDocument/2006/relationships/chart" Target="../charts/chart54.xml"/><Relationship Id="rId4" Type="http://schemas.openxmlformats.org/officeDocument/2006/relationships/image" Target="../media/image28.emf"/></Relationships>
</file>

<file path=ppt/slides/_rels/slide5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82.xml"/><Relationship Id="rId5" Type="http://schemas.openxmlformats.org/officeDocument/2006/relationships/chart" Target="../charts/chart55.xml"/><Relationship Id="rId4" Type="http://schemas.openxmlformats.org/officeDocument/2006/relationships/image" Target="../media/image28.emf"/></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83.xml"/><Relationship Id="rId5" Type="http://schemas.openxmlformats.org/officeDocument/2006/relationships/chart" Target="../charts/chart56.xml"/><Relationship Id="rId4" Type="http://schemas.openxmlformats.org/officeDocument/2006/relationships/image" Target="../media/image28.emf"/></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84.xml"/><Relationship Id="rId5" Type="http://schemas.openxmlformats.org/officeDocument/2006/relationships/chart" Target="../charts/chart57.xml"/><Relationship Id="rId4" Type="http://schemas.openxmlformats.org/officeDocument/2006/relationships/image" Target="../media/image28.emf"/></Relationships>
</file>

<file path=ppt/slides/_rels/slide5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85.xml"/><Relationship Id="rId5" Type="http://schemas.openxmlformats.org/officeDocument/2006/relationships/chart" Target="../charts/chart58.xml"/><Relationship Id="rId4" Type="http://schemas.openxmlformats.org/officeDocument/2006/relationships/image" Target="../media/image28.emf"/></Relationships>
</file>

<file path=ppt/slides/_rels/slide5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86.xml"/><Relationship Id="rId5" Type="http://schemas.openxmlformats.org/officeDocument/2006/relationships/chart" Target="../charts/chart59.xml"/><Relationship Id="rId4" Type="http://schemas.openxmlformats.org/officeDocument/2006/relationships/image" Target="../media/image28.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xml"/><Relationship Id="rId5" Type="http://schemas.openxmlformats.org/officeDocument/2006/relationships/chart" Target="../charts/chart6.xml"/><Relationship Id="rId4" Type="http://schemas.openxmlformats.org/officeDocument/2006/relationships/image" Target="../media/image28.emf"/></Relationships>
</file>

<file path=ppt/slides/_rels/slide6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87.xml"/><Relationship Id="rId5" Type="http://schemas.openxmlformats.org/officeDocument/2006/relationships/chart" Target="../charts/chart60.xml"/><Relationship Id="rId4" Type="http://schemas.openxmlformats.org/officeDocument/2006/relationships/image" Target="../media/image28.emf"/></Relationships>
</file>

<file path=ppt/slides/_rels/slide6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88.xml"/><Relationship Id="rId5" Type="http://schemas.openxmlformats.org/officeDocument/2006/relationships/chart" Target="../charts/chart61.xml"/><Relationship Id="rId4" Type="http://schemas.openxmlformats.org/officeDocument/2006/relationships/image" Target="../media/image28.emf"/></Relationships>
</file>

<file path=ppt/slides/_rels/slide6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89.xml"/><Relationship Id="rId5" Type="http://schemas.openxmlformats.org/officeDocument/2006/relationships/chart" Target="../charts/chart62.xml"/><Relationship Id="rId4" Type="http://schemas.openxmlformats.org/officeDocument/2006/relationships/image" Target="../media/image28.emf"/></Relationships>
</file>

<file path=ppt/slides/_rels/slide6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90.xml"/><Relationship Id="rId5" Type="http://schemas.openxmlformats.org/officeDocument/2006/relationships/chart" Target="../charts/chart63.xml"/><Relationship Id="rId4" Type="http://schemas.openxmlformats.org/officeDocument/2006/relationships/image" Target="../media/image28.emf"/></Relationships>
</file>

<file path=ppt/slides/_rels/slide6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91.xml"/><Relationship Id="rId5" Type="http://schemas.openxmlformats.org/officeDocument/2006/relationships/chart" Target="../charts/chart64.xml"/><Relationship Id="rId4" Type="http://schemas.openxmlformats.org/officeDocument/2006/relationships/image" Target="../media/image28.emf"/></Relationships>
</file>

<file path=ppt/slides/_rels/slide6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92.xml"/><Relationship Id="rId5" Type="http://schemas.openxmlformats.org/officeDocument/2006/relationships/chart" Target="../charts/chart65.xml"/><Relationship Id="rId4" Type="http://schemas.openxmlformats.org/officeDocument/2006/relationships/image" Target="../media/image28.emf"/></Relationships>
</file>

<file path=ppt/slides/_rels/slide6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93.xml"/><Relationship Id="rId5" Type="http://schemas.openxmlformats.org/officeDocument/2006/relationships/chart" Target="../charts/chart66.xml"/><Relationship Id="rId4" Type="http://schemas.openxmlformats.org/officeDocument/2006/relationships/image" Target="../media/image28.emf"/></Relationships>
</file>

<file path=ppt/slides/_rels/slide6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94.xml"/><Relationship Id="rId5" Type="http://schemas.openxmlformats.org/officeDocument/2006/relationships/chart" Target="../charts/chart67.xml"/><Relationship Id="rId4" Type="http://schemas.openxmlformats.org/officeDocument/2006/relationships/image" Target="../media/image28.emf"/></Relationships>
</file>

<file path=ppt/slides/_rels/slide6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95.xml"/><Relationship Id="rId5" Type="http://schemas.openxmlformats.org/officeDocument/2006/relationships/chart" Target="../charts/chart68.xml"/><Relationship Id="rId4" Type="http://schemas.openxmlformats.org/officeDocument/2006/relationships/image" Target="../media/image28.emf"/></Relationships>
</file>

<file path=ppt/slides/_rels/slide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6.xml"/><Relationship Id="rId5" Type="http://schemas.openxmlformats.org/officeDocument/2006/relationships/chart" Target="../charts/chart69.xml"/><Relationship Id="rId4" Type="http://schemas.openxmlformats.org/officeDocument/2006/relationships/image" Target="../media/image28.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xml"/><Relationship Id="rId5" Type="http://schemas.openxmlformats.org/officeDocument/2006/relationships/chart" Target="../charts/chart7.xml"/><Relationship Id="rId4" Type="http://schemas.openxmlformats.org/officeDocument/2006/relationships/image" Target="../media/image28.emf"/></Relationships>
</file>

<file path=ppt/slides/_rels/slide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7.xml"/><Relationship Id="rId5" Type="http://schemas.openxmlformats.org/officeDocument/2006/relationships/chart" Target="../charts/chart70.xml"/><Relationship Id="rId4" Type="http://schemas.openxmlformats.org/officeDocument/2006/relationships/image" Target="../media/image28.emf"/></Relationships>
</file>

<file path=ppt/slides/_rels/slide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8.xml"/><Relationship Id="rId5" Type="http://schemas.openxmlformats.org/officeDocument/2006/relationships/chart" Target="../charts/chart71.xml"/><Relationship Id="rId4" Type="http://schemas.openxmlformats.org/officeDocument/2006/relationships/image" Target="../media/image28.emf"/></Relationships>
</file>

<file path=ppt/slides/_rels/slide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9.xml"/><Relationship Id="rId5" Type="http://schemas.openxmlformats.org/officeDocument/2006/relationships/chart" Target="../charts/chart72.xml"/><Relationship Id="rId4" Type="http://schemas.openxmlformats.org/officeDocument/2006/relationships/image" Target="../media/image28.emf"/></Relationships>
</file>

<file path=ppt/slides/_rels/slide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0.xml"/><Relationship Id="rId5" Type="http://schemas.openxmlformats.org/officeDocument/2006/relationships/chart" Target="../charts/chart73.xml"/><Relationship Id="rId4" Type="http://schemas.openxmlformats.org/officeDocument/2006/relationships/image" Target="../media/image28.emf"/></Relationships>
</file>

<file path=ppt/slides/_rels/slide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1.xml"/><Relationship Id="rId5" Type="http://schemas.openxmlformats.org/officeDocument/2006/relationships/chart" Target="../charts/chart74.xml"/><Relationship Id="rId4" Type="http://schemas.openxmlformats.org/officeDocument/2006/relationships/image" Target="../media/image28.emf"/></Relationships>
</file>

<file path=ppt/slides/_rels/slide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2.xml"/><Relationship Id="rId5" Type="http://schemas.openxmlformats.org/officeDocument/2006/relationships/chart" Target="../charts/chart75.xml"/><Relationship Id="rId4" Type="http://schemas.openxmlformats.org/officeDocument/2006/relationships/image" Target="../media/image28.emf"/></Relationships>
</file>

<file path=ppt/slides/_rels/slide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3.xml"/><Relationship Id="rId5" Type="http://schemas.openxmlformats.org/officeDocument/2006/relationships/chart" Target="../charts/chart76.xml"/><Relationship Id="rId4" Type="http://schemas.openxmlformats.org/officeDocument/2006/relationships/image" Target="../media/image28.emf"/></Relationships>
</file>

<file path=ppt/slides/_rels/slide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4.xml"/><Relationship Id="rId5" Type="http://schemas.openxmlformats.org/officeDocument/2006/relationships/chart" Target="../charts/chart77.xml"/><Relationship Id="rId4" Type="http://schemas.openxmlformats.org/officeDocument/2006/relationships/image" Target="../media/image28.emf"/></Relationships>
</file>

<file path=ppt/slides/_rels/slide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5.xml"/><Relationship Id="rId5" Type="http://schemas.openxmlformats.org/officeDocument/2006/relationships/chart" Target="../charts/chart78.xml"/><Relationship Id="rId4" Type="http://schemas.openxmlformats.org/officeDocument/2006/relationships/image" Target="../media/image28.emf"/></Relationships>
</file>

<file path=ppt/slides/_rels/slide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6.xml"/><Relationship Id="rId5" Type="http://schemas.openxmlformats.org/officeDocument/2006/relationships/chart" Target="../charts/chart79.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5.xml"/><Relationship Id="rId5" Type="http://schemas.openxmlformats.org/officeDocument/2006/relationships/chart" Target="../charts/chart8.xml"/><Relationship Id="rId4" Type="http://schemas.openxmlformats.org/officeDocument/2006/relationships/image" Target="../media/image28.emf"/></Relationships>
</file>

<file path=ppt/slides/_rels/slide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7.xml"/><Relationship Id="rId5" Type="http://schemas.openxmlformats.org/officeDocument/2006/relationships/chart" Target="../charts/chart80.xml"/><Relationship Id="rId4" Type="http://schemas.openxmlformats.org/officeDocument/2006/relationships/image" Target="../media/image28.emf"/></Relationships>
</file>

<file path=ppt/slides/_rels/slide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8.xml"/><Relationship Id="rId5" Type="http://schemas.openxmlformats.org/officeDocument/2006/relationships/chart" Target="../charts/chart81.xml"/><Relationship Id="rId4" Type="http://schemas.openxmlformats.org/officeDocument/2006/relationships/image" Target="../media/image28.emf"/></Relationships>
</file>

<file path=ppt/slides/_rels/slide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9.xml"/><Relationship Id="rId5" Type="http://schemas.openxmlformats.org/officeDocument/2006/relationships/chart" Target="../charts/chart82.xml"/><Relationship Id="rId4" Type="http://schemas.openxmlformats.org/officeDocument/2006/relationships/image" Target="../media/image28.emf"/></Relationships>
</file>

<file path=ppt/slides/_rels/slide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0.xml"/><Relationship Id="rId5" Type="http://schemas.openxmlformats.org/officeDocument/2006/relationships/chart" Target="../charts/chart83.xml"/><Relationship Id="rId4" Type="http://schemas.openxmlformats.org/officeDocument/2006/relationships/image" Target="../media/image28.emf"/></Relationships>
</file>

<file path=ppt/slides/_rels/slide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1.xml"/><Relationship Id="rId5" Type="http://schemas.openxmlformats.org/officeDocument/2006/relationships/chart" Target="../charts/chart84.xml"/><Relationship Id="rId4" Type="http://schemas.openxmlformats.org/officeDocument/2006/relationships/image" Target="../media/image28.emf"/></Relationships>
</file>

<file path=ppt/slides/_rels/slide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2.xml"/><Relationship Id="rId5" Type="http://schemas.openxmlformats.org/officeDocument/2006/relationships/chart" Target="../charts/chart85.xml"/><Relationship Id="rId4" Type="http://schemas.openxmlformats.org/officeDocument/2006/relationships/image" Target="../media/image28.emf"/></Relationships>
</file>

<file path=ppt/slides/_rels/slide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3.xml"/><Relationship Id="rId5" Type="http://schemas.openxmlformats.org/officeDocument/2006/relationships/chart" Target="../charts/chart86.xml"/><Relationship Id="rId4" Type="http://schemas.openxmlformats.org/officeDocument/2006/relationships/image" Target="../media/image28.emf"/></Relationships>
</file>

<file path=ppt/slides/_rels/slide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4.xml"/><Relationship Id="rId5" Type="http://schemas.openxmlformats.org/officeDocument/2006/relationships/chart" Target="../charts/chart87.xml"/><Relationship Id="rId4" Type="http://schemas.openxmlformats.org/officeDocument/2006/relationships/image" Target="../media/image28.emf"/></Relationships>
</file>

<file path=ppt/slides/_rels/slide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5.xml"/><Relationship Id="rId5" Type="http://schemas.openxmlformats.org/officeDocument/2006/relationships/chart" Target="../charts/chart88.xml"/><Relationship Id="rId4" Type="http://schemas.openxmlformats.org/officeDocument/2006/relationships/image" Target="../media/image28.emf"/></Relationships>
</file>

<file path=ppt/slides/_rels/slide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6.xml"/><Relationship Id="rId5" Type="http://schemas.openxmlformats.org/officeDocument/2006/relationships/chart" Target="../charts/chart89.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6.xml"/><Relationship Id="rId5" Type="http://schemas.openxmlformats.org/officeDocument/2006/relationships/chart" Target="../charts/chart9.xml"/><Relationship Id="rId4" Type="http://schemas.openxmlformats.org/officeDocument/2006/relationships/image" Target="../media/image28.emf"/></Relationships>
</file>

<file path=ppt/slides/_rels/slide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7.xml"/><Relationship Id="rId5" Type="http://schemas.openxmlformats.org/officeDocument/2006/relationships/chart" Target="../charts/chart90.xml"/><Relationship Id="rId4" Type="http://schemas.openxmlformats.org/officeDocument/2006/relationships/image" Target="../media/image28.emf"/></Relationships>
</file>

<file path=ppt/slides/_rels/slide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8.xml"/><Relationship Id="rId5" Type="http://schemas.openxmlformats.org/officeDocument/2006/relationships/chart" Target="../charts/chart91.xml"/><Relationship Id="rId4" Type="http://schemas.openxmlformats.org/officeDocument/2006/relationships/image" Target="../media/image28.emf"/></Relationships>
</file>

<file path=ppt/slides/_rels/slide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9.xml"/><Relationship Id="rId5" Type="http://schemas.openxmlformats.org/officeDocument/2006/relationships/chart" Target="../charts/chart92.xml"/><Relationship Id="rId4" Type="http://schemas.openxmlformats.org/officeDocument/2006/relationships/image" Target="../media/image2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3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18130"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dirty="0">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75555"/>
                </a:solidFill>
                <a:effectLst/>
                <a:uLnTx/>
                <a:uFillTx/>
                <a:latin typeface="Nexa Bold"/>
                <a:ea typeface="+mn-ea"/>
                <a:cs typeface="Dubai Light"/>
              </a:rPr>
              <a:t>Base Price/Unit ($)</a:t>
            </a:r>
          </a:p>
        </p:txBody>
      </p:sp>
    </p:spTree>
    <p:extLst>
      <p:ext uri="{BB962C8B-B14F-4D97-AF65-F5344CB8AC3E}">
        <p14:creationId xmlns:p14="http://schemas.microsoft.com/office/powerpoint/2010/main" val="12826106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3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97176429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3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23456323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3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62833954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3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17115162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3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76809118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3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40135113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3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02392336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3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56631741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3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14968703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3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09828923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3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18130"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dirty="0">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75555"/>
                </a:solidFill>
                <a:effectLst/>
                <a:uLnTx/>
                <a:uFillTx/>
                <a:latin typeface="Nexa Bold"/>
                <a:ea typeface="+mn-ea"/>
                <a:cs typeface="Dubai Light"/>
              </a:rPr>
              <a:t>Base Price/Unit ($)</a:t>
            </a:r>
          </a:p>
        </p:txBody>
      </p:sp>
    </p:spTree>
    <p:extLst>
      <p:ext uri="{BB962C8B-B14F-4D97-AF65-F5344CB8AC3E}">
        <p14:creationId xmlns:p14="http://schemas.microsoft.com/office/powerpoint/2010/main" val="197480702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3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77040319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3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43912209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3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92905001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3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52927583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3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427378608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3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8644803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3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02910840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3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51660598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3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94479899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3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701426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3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18130"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dirty="0">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75555"/>
                </a:solidFill>
                <a:effectLst/>
                <a:uLnTx/>
                <a:uFillTx/>
                <a:latin typeface="Nexa Bold"/>
                <a:ea typeface="+mn-ea"/>
                <a:cs typeface="Dubai Light"/>
              </a:rPr>
              <a:t>Base Price/Unit ($)</a:t>
            </a:r>
          </a:p>
        </p:txBody>
      </p:sp>
    </p:spTree>
    <p:extLst>
      <p:ext uri="{BB962C8B-B14F-4D97-AF65-F5344CB8AC3E}">
        <p14:creationId xmlns:p14="http://schemas.microsoft.com/office/powerpoint/2010/main" val="285970929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3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7100479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3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27696087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3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65493925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3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87385658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3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410594535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3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63415366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3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66860424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3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24198173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3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95396407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3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56949537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3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18130"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dirty="0">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75555"/>
                </a:solidFill>
                <a:effectLst/>
                <a:uLnTx/>
                <a:uFillTx/>
                <a:latin typeface="Nexa Bold"/>
                <a:ea typeface="+mn-ea"/>
                <a:cs typeface="Dubai Light"/>
              </a:rPr>
              <a:t>Base Price/Unit ($)</a:t>
            </a:r>
          </a:p>
        </p:txBody>
      </p:sp>
    </p:spTree>
    <p:extLst>
      <p:ext uri="{BB962C8B-B14F-4D97-AF65-F5344CB8AC3E}">
        <p14:creationId xmlns:p14="http://schemas.microsoft.com/office/powerpoint/2010/main" val="282145190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3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63727701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3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35308168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3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17226826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3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49491903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3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53647405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3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94366060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3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7120634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3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6266229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3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47200648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3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30185419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3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18130"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dirty="0">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75555"/>
                </a:solidFill>
                <a:effectLst/>
                <a:uLnTx/>
                <a:uFillTx/>
                <a:latin typeface="Nexa Bold"/>
                <a:ea typeface="+mn-ea"/>
                <a:cs typeface="Dubai Light"/>
              </a:rPr>
              <a:t>Base Price/Unit ($)</a:t>
            </a:r>
          </a:p>
        </p:txBody>
      </p:sp>
    </p:spTree>
    <p:extLst>
      <p:ext uri="{BB962C8B-B14F-4D97-AF65-F5344CB8AC3E}">
        <p14:creationId xmlns:p14="http://schemas.microsoft.com/office/powerpoint/2010/main" val="184041940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3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37685849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3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79025348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3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6443371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3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45998688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3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10707509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3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824944350"/>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3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817461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3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63834424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3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8</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26061996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3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9</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2117717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3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18130"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dirty="0">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75555"/>
                </a:solidFill>
                <a:effectLst/>
                <a:uLnTx/>
                <a:uFillTx/>
                <a:latin typeface="Nexa Bold"/>
                <a:ea typeface="+mn-ea"/>
                <a:cs typeface="Dubai Light"/>
              </a:rPr>
              <a:t>Base Price/Unit ($)</a:t>
            </a:r>
          </a:p>
        </p:txBody>
      </p:sp>
    </p:spTree>
    <p:extLst>
      <p:ext uri="{BB962C8B-B14F-4D97-AF65-F5344CB8AC3E}">
        <p14:creationId xmlns:p14="http://schemas.microsoft.com/office/powerpoint/2010/main" val="241180378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3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0</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90204304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3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1</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46733305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3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511189618"/>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3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76599804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3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99261460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3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373127325"/>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3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3224000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3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48333214"/>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3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702190087"/>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3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46859253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3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18130"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dirty="0">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75555"/>
                </a:solidFill>
                <a:effectLst/>
                <a:uLnTx/>
                <a:uFillTx/>
                <a:latin typeface="Nexa Bold"/>
                <a:ea typeface="+mn-ea"/>
                <a:cs typeface="Dubai Light"/>
              </a:rPr>
              <a:t>Base Price/Unit ($)</a:t>
            </a:r>
          </a:p>
        </p:txBody>
      </p:sp>
    </p:spTree>
    <p:extLst>
      <p:ext uri="{BB962C8B-B14F-4D97-AF65-F5344CB8AC3E}">
        <p14:creationId xmlns:p14="http://schemas.microsoft.com/office/powerpoint/2010/main" val="219416384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3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4259279009"/>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3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508036461"/>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3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088791395"/>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3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409618321"/>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3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213710362"/>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3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685632710"/>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3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4123048292"/>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3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86669733"/>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3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032676873"/>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3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2711250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3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526604832"/>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3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367041178"/>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3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163179576"/>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3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832597573"/>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3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796774540"/>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3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Sector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by brand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587519533"/>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3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Sector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by brand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173947635"/>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3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Sector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by brand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782489450"/>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3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Sector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by brand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400526908"/>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3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Sector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by brand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887787753"/>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3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Sector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by brand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44571166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3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656324565"/>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3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Sector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by brand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490910734"/>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3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Sector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by brand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4186777492"/>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3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Sector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by brand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65242923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0726F4B-CCCE-4FD7-AEEC-E1B68F2D26F5}">
  <ds:schemaRefs>
    <ds:schemaRef ds:uri="http://schemas.microsoft.com/sharepoint/v3/contenttype/forms"/>
  </ds:schemaRefs>
</ds:datastoreItem>
</file>

<file path=customXml/itemProps2.xml><?xml version="1.0" encoding="utf-8"?>
<ds:datastoreItem xmlns:ds="http://schemas.openxmlformats.org/officeDocument/2006/customXml" ds:itemID="{86DE5052-E9D7-46E7-8537-D0DDAF09064B}">
  <ds:schemaRefs>
    <ds:schemaRef ds:uri="0ad93b7f-b0cd-4c46-aaaf-ff14495948cf"/>
    <ds:schemaRef ds:uri="474cf4e4-8a51-432b-9e1b-0ea607ac38f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4DAD8CDA-E8B3-4E61-898C-45F4951EF008}">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42</TotalTime>
  <Words>10746</Words>
  <Application>Microsoft Office PowerPoint</Application>
  <PresentationFormat>On-screen Show (16:9)</PresentationFormat>
  <Paragraphs>5039</Paragraphs>
  <Slides>92</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92</vt:i4>
      </vt:variant>
    </vt:vector>
  </HeadingPairs>
  <TitlesOfParts>
    <vt:vector size="101" baseType="lpstr">
      <vt:lpstr>Aptos</vt:lpstr>
      <vt:lpstr>Arial</vt:lpstr>
      <vt:lpstr>Nexa</vt:lpstr>
      <vt:lpstr>Nexa Bold</vt:lpstr>
      <vt:lpstr>Nexa Book</vt:lpstr>
      <vt:lpstr>Nexa Book Italic</vt:lpstr>
      <vt:lpstr>Open Sans</vt:lpstr>
      <vt:lpstr>PricingOne Light Template Oct 2024</vt:lpstr>
      <vt:lpstr>think-cell Slide</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Salma ANANY</cp:lastModifiedBy>
  <cp:revision>43</cp:revision>
  <dcterms:created xsi:type="dcterms:W3CDTF">2024-07-05T14:56:51Z</dcterms:created>
  <dcterms:modified xsi:type="dcterms:W3CDTF">2025-07-31T11:39: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